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3" r:id="rId4"/>
  </p:sldMasterIdLst>
  <p:notesMasterIdLst>
    <p:notesMasterId r:id="rId13"/>
  </p:notesMasterIdLst>
  <p:handoutMasterIdLst>
    <p:handoutMasterId r:id="rId14"/>
  </p:handoutMasterIdLst>
  <p:sldIdLst>
    <p:sldId id="2145704145" r:id="rId5"/>
    <p:sldId id="2145704230" r:id="rId6"/>
    <p:sldId id="2145704227" r:id="rId7"/>
    <p:sldId id="929" r:id="rId8"/>
    <p:sldId id="2145704229" r:id="rId9"/>
    <p:sldId id="920" r:id="rId10"/>
    <p:sldId id="2145704228" r:id="rId11"/>
    <p:sldId id="2145704231" r:id="rId12"/>
  </p:sldIdLst>
  <p:sldSz cx="12192000" cy="6858000"/>
  <p:notesSz cx="6797675" cy="9926638"/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F365C1A-67C8-8D03-1B4D-2099DD505700}" name="Nielsen, Sanne M." initials="NSM" userId="S::Sanne.M.Nielsen@ugiintl.com::63f6c034-f730-4130-962a-d186f4f64529" providerId="AD"/>
  <p188:author id="{81CCAB26-302C-B7E1-4F17-4B27DA958338}" name="su" initials="s" userId="S::su@michoncreative.co.uk::e4ab73bd-8fb2-4dfb-8947-5ec0b30e6589" providerId="AD"/>
  <p188:author id="{384F3FD7-7A8E-4688-13C2-6F6797664C41}" name="Yvonne PEARSE" initials="YP" userId="ADBXjdkBzYmNcKsnPPm3n8U44KgBelPkpf3oGJiCslo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mercier, Céline" initials="LC" lastIdx="20" clrIdx="0"/>
  <p:cmAuthor id="2" name="HOUREZ Alaine" initials="HA" lastIdx="7" clrIdx="1"/>
  <p:cmAuthor id="3" name="Thomson, Lisa" initials="TL" lastIdx="3" clrIdx="2"/>
  <p:cmAuthor id="4" name="Pearse, Yvonne" initials="PY" lastIdx="1" clrIdx="3">
    <p:extLst>
      <p:ext uri="{19B8F6BF-5375-455C-9EA6-DF929625EA0E}">
        <p15:presenceInfo xmlns:p15="http://schemas.microsoft.com/office/powerpoint/2012/main" userId="S::Yvonne.Pearse@ugiintl.com::c96b9ebe-4903-4ac3-a561-6b8f226b0f4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234C2D"/>
    <a:srgbClr val="EAC108"/>
    <a:srgbClr val="244C2D"/>
    <a:srgbClr val="008634"/>
    <a:srgbClr val="7EBB00"/>
    <a:srgbClr val="123758"/>
    <a:srgbClr val="57D3F8"/>
    <a:srgbClr val="42C0EC"/>
    <a:srgbClr val="F3AF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Themed Style 1 –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997" autoAdjust="0"/>
    <p:restoredTop sz="82055" autoAdjust="0"/>
  </p:normalViewPr>
  <p:slideViewPr>
    <p:cSldViewPr snapToGrid="0">
      <p:cViewPr varScale="1">
        <p:scale>
          <a:sx n="103" d="100"/>
          <a:sy n="103" d="100"/>
        </p:scale>
        <p:origin x="704" y="176"/>
      </p:cViewPr>
      <p:guideLst>
        <p:guide orient="horz" pos="220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692" y="4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rlotte Mueller" userId="ce18c5ea-b8f2-40e2-90ed-c9f9fbaf41f3" providerId="ADAL" clId="{397A515B-5B10-54F7-8EC4-C54F07BD0FE7}"/>
    <pc:docChg chg="delSld sldOrd">
      <pc:chgData name="Charlotte Mueller" userId="ce18c5ea-b8f2-40e2-90ed-c9f9fbaf41f3" providerId="ADAL" clId="{397A515B-5B10-54F7-8EC4-C54F07BD0FE7}" dt="2025-11-12T14:19:14.124" v="2" actId="20578"/>
      <pc:docMkLst>
        <pc:docMk/>
      </pc:docMkLst>
      <pc:sldChg chg="ord">
        <pc:chgData name="Charlotte Mueller" userId="ce18c5ea-b8f2-40e2-90ed-c9f9fbaf41f3" providerId="ADAL" clId="{397A515B-5B10-54F7-8EC4-C54F07BD0FE7}" dt="2025-11-12T14:19:14.124" v="2" actId="20578"/>
        <pc:sldMkLst>
          <pc:docMk/>
          <pc:sldMk cId="621863138" sldId="920"/>
        </pc:sldMkLst>
      </pc:sldChg>
      <pc:sldChg chg="del">
        <pc:chgData name="Charlotte Mueller" userId="ce18c5ea-b8f2-40e2-90ed-c9f9fbaf41f3" providerId="ADAL" clId="{397A515B-5B10-54F7-8EC4-C54F07BD0FE7}" dt="2025-11-12T14:19:03.894" v="1" actId="2696"/>
        <pc:sldMkLst>
          <pc:docMk/>
          <pc:sldMk cId="428114839" sldId="2145704200"/>
        </pc:sldMkLst>
      </pc:sldChg>
      <pc:sldChg chg="ord">
        <pc:chgData name="Charlotte Mueller" userId="ce18c5ea-b8f2-40e2-90ed-c9f9fbaf41f3" providerId="ADAL" clId="{397A515B-5B10-54F7-8EC4-C54F07BD0FE7}" dt="2025-11-12T14:18:53.319" v="0" actId="20578"/>
        <pc:sldMkLst>
          <pc:docMk/>
          <pc:sldMk cId="3611742613" sldId="2145704230"/>
        </pc:sldMkLst>
      </pc:sldChg>
    </pc:docChg>
  </pc:docChgLst>
  <pc:docChgLst>
    <pc:chgData name="Kat Route-Stephens" userId="afc9be6f-3f55-4c4f-8e6c-a396774a1022" providerId="ADAL" clId="{85CD7015-87AE-452B-B9E9-3B35D693522C}"/>
    <pc:docChg chg="undo redo custSel addSld delSld modSld sldOrd">
      <pc:chgData name="Kat Route-Stephens" userId="afc9be6f-3f55-4c4f-8e6c-a396774a1022" providerId="ADAL" clId="{85CD7015-87AE-452B-B9E9-3B35D693522C}" dt="2025-11-11T14:10:06.334" v="2943" actId="1076"/>
      <pc:docMkLst>
        <pc:docMk/>
      </pc:docMkLst>
      <pc:sldChg chg="addSp delSp modSp add mod">
        <pc:chgData name="Kat Route-Stephens" userId="afc9be6f-3f55-4c4f-8e6c-a396774a1022" providerId="ADAL" clId="{85CD7015-87AE-452B-B9E9-3B35D693522C}" dt="2025-11-11T13:58:48.770" v="2293" actId="255"/>
        <pc:sldMkLst>
          <pc:docMk/>
          <pc:sldMk cId="621863138" sldId="920"/>
        </pc:sldMkLst>
        <pc:spChg chg="mod">
          <ac:chgData name="Kat Route-Stephens" userId="afc9be6f-3f55-4c4f-8e6c-a396774a1022" providerId="ADAL" clId="{85CD7015-87AE-452B-B9E9-3B35D693522C}" dt="2025-11-11T13:58:23.236" v="2253" actId="948"/>
          <ac:spMkLst>
            <pc:docMk/>
            <pc:sldMk cId="621863138" sldId="920"/>
            <ac:spMk id="2" creationId="{35784F29-BAB4-44AE-B3AE-996D674D1AF2}"/>
          </ac:spMkLst>
        </pc:spChg>
        <pc:spChg chg="add del mod modVis">
          <ac:chgData name="Kat Route-Stephens" userId="afc9be6f-3f55-4c4f-8e6c-a396774a1022" providerId="ADAL" clId="{85CD7015-87AE-452B-B9E9-3B35D693522C}" dt="2025-11-11T13:58:23.273" v="2275"/>
          <ac:spMkLst>
            <pc:docMk/>
            <pc:sldMk cId="621863138" sldId="920"/>
            <ac:spMk id="3" creationId="{3BBA8A6F-86E3-5F14-C773-4AF7462A02D6}"/>
          </ac:spMkLst>
        </pc:spChg>
        <pc:graphicFrameChg chg="add mod ord modVis">
          <ac:chgData name="Kat Route-Stephens" userId="afc9be6f-3f55-4c4f-8e6c-a396774a1022" providerId="ADAL" clId="{85CD7015-87AE-452B-B9E9-3B35D693522C}" dt="2025-11-11T13:58:23.307" v="2289"/>
          <ac:graphicFrameMkLst>
            <pc:docMk/>
            <pc:sldMk cId="621863138" sldId="920"/>
            <ac:graphicFrameMk id="4" creationId="{894662B1-160E-9059-B1AE-A38E35F64E58}"/>
          </ac:graphicFrameMkLst>
        </pc:graphicFrameChg>
        <pc:graphicFrameChg chg="modGraphic">
          <ac:chgData name="Kat Route-Stephens" userId="afc9be6f-3f55-4c4f-8e6c-a396774a1022" providerId="ADAL" clId="{85CD7015-87AE-452B-B9E9-3B35D693522C}" dt="2025-11-11T13:58:48.770" v="2293" actId="255"/>
          <ac:graphicFrameMkLst>
            <pc:docMk/>
            <pc:sldMk cId="621863138" sldId="920"/>
            <ac:graphicFrameMk id="9" creationId="{9D0E41E7-8811-47F7-99A0-D83A63D261EF}"/>
          </ac:graphicFrameMkLst>
        </pc:graphicFrameChg>
      </pc:sldChg>
      <pc:sldChg chg="addSp delSp modSp add mod">
        <pc:chgData name="Kat Route-Stephens" userId="afc9be6f-3f55-4c4f-8e6c-a396774a1022" providerId="ADAL" clId="{85CD7015-87AE-452B-B9E9-3B35D693522C}" dt="2025-11-11T14:00:10.094" v="2391" actId="27636"/>
        <pc:sldMkLst>
          <pc:docMk/>
          <pc:sldMk cId="3680637880" sldId="929"/>
        </pc:sldMkLst>
        <pc:spChg chg="mod">
          <ac:chgData name="Kat Route-Stephens" userId="afc9be6f-3f55-4c4f-8e6c-a396774a1022" providerId="ADAL" clId="{85CD7015-87AE-452B-B9E9-3B35D693522C}" dt="2025-11-11T13:59:35.824" v="2358" actId="948"/>
          <ac:spMkLst>
            <pc:docMk/>
            <pc:sldMk cId="3680637880" sldId="929"/>
            <ac:spMk id="2" creationId="{35784F29-BAB4-44AE-B3AE-996D674D1AF2}"/>
          </ac:spMkLst>
        </pc:spChg>
        <pc:spChg chg="add del mod modVis">
          <ac:chgData name="Kat Route-Stephens" userId="afc9be6f-3f55-4c4f-8e6c-a396774a1022" providerId="ADAL" clId="{85CD7015-87AE-452B-B9E9-3B35D693522C}" dt="2025-11-11T13:59:35.848" v="2372" actId="478"/>
          <ac:spMkLst>
            <pc:docMk/>
            <pc:sldMk cId="3680637880" sldId="929"/>
            <ac:spMk id="4" creationId="{8C123151-5BC6-13BE-320E-5338042EF983}"/>
          </ac:spMkLst>
        </pc:spChg>
        <pc:spChg chg="mod">
          <ac:chgData name="Kat Route-Stephens" userId="afc9be6f-3f55-4c4f-8e6c-a396774a1022" providerId="ADAL" clId="{85CD7015-87AE-452B-B9E9-3B35D693522C}" dt="2025-11-11T14:00:10.094" v="2391" actId="27636"/>
          <ac:spMkLst>
            <pc:docMk/>
            <pc:sldMk cId="3680637880" sldId="929"/>
            <ac:spMk id="8" creationId="{DF611DC1-9371-4EC3-A0A8-EBBF83FC44D3}"/>
          </ac:spMkLst>
        </pc:spChg>
        <pc:graphicFrameChg chg="add mod ord modVis">
          <ac:chgData name="Kat Route-Stephens" userId="afc9be6f-3f55-4c4f-8e6c-a396774a1022" providerId="ADAL" clId="{85CD7015-87AE-452B-B9E9-3B35D693522C}" dt="2025-11-11T13:59:35.860" v="2380"/>
          <ac:graphicFrameMkLst>
            <pc:docMk/>
            <pc:sldMk cId="3680637880" sldId="929"/>
            <ac:graphicFrameMk id="6" creationId="{C2F53960-AD56-DCE1-6F8B-E109845D28A0}"/>
          </ac:graphicFrameMkLst>
        </pc:graphicFrameChg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3683529659" sldId="2145704115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1125265240" sldId="2145704122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2600097373" sldId="2145704137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1185377532" sldId="2145704143"/>
        </pc:sldMkLst>
      </pc:sldChg>
      <pc:sldChg chg="modSp mod ord">
        <pc:chgData name="Kat Route-Stephens" userId="afc9be6f-3f55-4c4f-8e6c-a396774a1022" providerId="ADAL" clId="{85CD7015-87AE-452B-B9E9-3B35D693522C}" dt="2025-11-11T13:10:20.295" v="297" actId="1076"/>
        <pc:sldMkLst>
          <pc:docMk/>
          <pc:sldMk cId="2527069838" sldId="2145704145"/>
        </pc:sldMkLst>
        <pc:spChg chg="mod">
          <ac:chgData name="Kat Route-Stephens" userId="afc9be6f-3f55-4c4f-8e6c-a396774a1022" providerId="ADAL" clId="{85CD7015-87AE-452B-B9E9-3B35D693522C}" dt="2025-11-11T13:10:20.295" v="297" actId="1076"/>
          <ac:spMkLst>
            <pc:docMk/>
            <pc:sldMk cId="2527069838" sldId="2145704145"/>
            <ac:spMk id="4" creationId="{B65F5776-7DC8-384E-E75E-E7335EE21F52}"/>
          </ac:spMkLst>
        </pc:spChg>
        <pc:spChg chg="mod">
          <ac:chgData name="Kat Route-Stephens" userId="afc9be6f-3f55-4c4f-8e6c-a396774a1022" providerId="ADAL" clId="{85CD7015-87AE-452B-B9E9-3B35D693522C}" dt="2025-11-11T13:05:41.433" v="209" actId="20577"/>
          <ac:spMkLst>
            <pc:docMk/>
            <pc:sldMk cId="2527069838" sldId="2145704145"/>
            <ac:spMk id="6" creationId="{CCAB528E-A240-8A6A-6830-E1186A4045F1}"/>
          </ac:spMkLst>
        </pc:spChg>
        <pc:spChg chg="mod">
          <ac:chgData name="Kat Route-Stephens" userId="afc9be6f-3f55-4c4f-8e6c-a396774a1022" providerId="ADAL" clId="{85CD7015-87AE-452B-B9E9-3B35D693522C}" dt="2025-11-11T13:10:10.064" v="293" actId="20577"/>
          <ac:spMkLst>
            <pc:docMk/>
            <pc:sldMk cId="2527069838" sldId="2145704145"/>
            <ac:spMk id="7" creationId="{32C5B052-7111-2AA4-98E6-A2D0CAD15216}"/>
          </ac:spMkLst>
        </pc:spChg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4065417733" sldId="2145704162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2291191660" sldId="2145704163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2512869202" sldId="2145704164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907982370" sldId="2145704166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2169511971" sldId="2145704168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1242313008" sldId="2145704169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400819602" sldId="2145704172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863513041" sldId="2145704177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2135448439" sldId="2145704178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401342703" sldId="2145704194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2373834760" sldId="2145704195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126673943" sldId="2145704196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3973688343" sldId="2145704197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805267457" sldId="2145704198"/>
        </pc:sldMkLst>
      </pc:sldChg>
      <pc:sldChg chg="addSp delSp modSp mod ord">
        <pc:chgData name="Kat Route-Stephens" userId="afc9be6f-3f55-4c4f-8e6c-a396774a1022" providerId="ADAL" clId="{85CD7015-87AE-452B-B9E9-3B35D693522C}" dt="2025-11-11T14:10:06.334" v="2943" actId="1076"/>
        <pc:sldMkLst>
          <pc:docMk/>
          <pc:sldMk cId="428114839" sldId="2145704200"/>
        </pc:sldMkLst>
        <pc:spChg chg="del">
          <ac:chgData name="Kat Route-Stephens" userId="afc9be6f-3f55-4c4f-8e6c-a396774a1022" providerId="ADAL" clId="{85CD7015-87AE-452B-B9E9-3B35D693522C}" dt="2025-11-11T13:30:50.296" v="575" actId="478"/>
          <ac:spMkLst>
            <pc:docMk/>
            <pc:sldMk cId="428114839" sldId="2145704200"/>
            <ac:spMk id="5" creationId="{ECCD7081-6534-D967-E7B1-28ED203F1D02}"/>
          </ac:spMkLst>
        </pc:spChg>
        <pc:spChg chg="add mod">
          <ac:chgData name="Kat Route-Stephens" userId="afc9be6f-3f55-4c4f-8e6c-a396774a1022" providerId="ADAL" clId="{85CD7015-87AE-452B-B9E9-3B35D693522C}" dt="2025-11-11T14:10:06.334" v="2943" actId="1076"/>
          <ac:spMkLst>
            <pc:docMk/>
            <pc:sldMk cId="428114839" sldId="2145704200"/>
            <ac:spMk id="6" creationId="{48148FF8-187A-DC7E-2E00-4B6BE4367642}"/>
          </ac:spMkLst>
        </pc:spChg>
        <pc:spChg chg="del mod">
          <ac:chgData name="Kat Route-Stephens" userId="afc9be6f-3f55-4c4f-8e6c-a396774a1022" providerId="ADAL" clId="{85CD7015-87AE-452B-B9E9-3B35D693522C}" dt="2025-11-11T14:10:02.952" v="2942" actId="478"/>
          <ac:spMkLst>
            <pc:docMk/>
            <pc:sldMk cId="428114839" sldId="2145704200"/>
            <ac:spMk id="145" creationId="{081C7F70-1BF5-EA28-04EE-C116C460057E}"/>
          </ac:spMkLst>
        </pc:spChg>
        <pc:spChg chg="mod">
          <ac:chgData name="Kat Route-Stephens" userId="afc9be6f-3f55-4c4f-8e6c-a396774a1022" providerId="ADAL" clId="{85CD7015-87AE-452B-B9E9-3B35D693522C}" dt="2025-11-11T13:30:53.813" v="577" actId="948"/>
          <ac:spMkLst>
            <pc:docMk/>
            <pc:sldMk cId="428114839" sldId="2145704200"/>
            <ac:spMk id="149" creationId="{C21011B8-FE3C-6B44-B8E3-41136B55CE41}"/>
          </ac:spMkLst>
        </pc:spChg>
        <pc:graphicFrameChg chg="add mod ord modVis">
          <ac:chgData name="Kat Route-Stephens" userId="afc9be6f-3f55-4c4f-8e6c-a396774a1022" providerId="ADAL" clId="{85CD7015-87AE-452B-B9E9-3B35D693522C}" dt="2025-11-11T13:30:53.877" v="591"/>
          <ac:graphicFrameMkLst>
            <pc:docMk/>
            <pc:sldMk cId="428114839" sldId="2145704200"/>
            <ac:graphicFrameMk id="3" creationId="{DC48D4DB-BC7D-2330-86C7-B9867E2EF69A}"/>
          </ac:graphicFrameMkLst>
        </pc:graphicFrameChg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2323460642" sldId="2145704201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4039433260" sldId="2145704202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4023085285" sldId="2145704203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1565355659" sldId="2145704205"/>
        </pc:sldMkLst>
      </pc:sldChg>
      <pc:sldChg chg="del ord">
        <pc:chgData name="Kat Route-Stephens" userId="afc9be6f-3f55-4c4f-8e6c-a396774a1022" providerId="ADAL" clId="{85CD7015-87AE-452B-B9E9-3B35D693522C}" dt="2025-11-11T14:06:31.744" v="2850" actId="47"/>
        <pc:sldMkLst>
          <pc:docMk/>
          <pc:sldMk cId="2646325672" sldId="2145704207"/>
        </pc:sldMkLst>
      </pc:sldChg>
      <pc:sldChg chg="addSp delSp modSp del mod ord">
        <pc:chgData name="Kat Route-Stephens" userId="afc9be6f-3f55-4c4f-8e6c-a396774a1022" providerId="ADAL" clId="{85CD7015-87AE-452B-B9E9-3B35D693522C}" dt="2025-11-11T14:06:31.744" v="2850" actId="47"/>
        <pc:sldMkLst>
          <pc:docMk/>
          <pc:sldMk cId="484959162" sldId="2145704208"/>
        </pc:sldMkLst>
        <pc:spChg chg="del mod">
          <ac:chgData name="Kat Route-Stephens" userId="afc9be6f-3f55-4c4f-8e6c-a396774a1022" providerId="ADAL" clId="{85CD7015-87AE-452B-B9E9-3B35D693522C}" dt="2025-11-11T13:20:11.030" v="420" actId="478"/>
          <ac:spMkLst>
            <pc:docMk/>
            <pc:sldMk cId="484959162" sldId="2145704208"/>
            <ac:spMk id="4" creationId="{B7D83B65-C7AE-0DA3-7981-B88D7C2E1E9E}"/>
          </ac:spMkLst>
        </pc:spChg>
        <pc:spChg chg="mod">
          <ac:chgData name="Kat Route-Stephens" userId="afc9be6f-3f55-4c4f-8e6c-a396774a1022" providerId="ADAL" clId="{85CD7015-87AE-452B-B9E9-3B35D693522C}" dt="2025-11-11T13:21:20.851" v="431" actId="6549"/>
          <ac:spMkLst>
            <pc:docMk/>
            <pc:sldMk cId="484959162" sldId="2145704208"/>
            <ac:spMk id="11" creationId="{04397BE6-4BAD-061A-6547-84F417E15FCC}"/>
          </ac:spMkLst>
        </pc:spChg>
        <pc:spChg chg="add del mod">
          <ac:chgData name="Kat Route-Stephens" userId="afc9be6f-3f55-4c4f-8e6c-a396774a1022" providerId="ADAL" clId="{85CD7015-87AE-452B-B9E9-3B35D693522C}" dt="2025-11-11T13:12:20.283" v="398" actId="478"/>
          <ac:spMkLst>
            <pc:docMk/>
            <pc:sldMk cId="484959162" sldId="2145704208"/>
            <ac:spMk id="12" creationId="{2D290C4A-2488-3457-51E1-92E0FF641961}"/>
          </ac:spMkLst>
        </pc:spChg>
        <pc:spChg chg="add del mod">
          <ac:chgData name="Kat Route-Stephens" userId="afc9be6f-3f55-4c4f-8e6c-a396774a1022" providerId="ADAL" clId="{85CD7015-87AE-452B-B9E9-3B35D693522C}" dt="2025-11-11T13:20:13.529" v="423" actId="478"/>
          <ac:spMkLst>
            <pc:docMk/>
            <pc:sldMk cId="484959162" sldId="2145704208"/>
            <ac:spMk id="19" creationId="{24C8EB5A-AB4D-4ECF-642F-AC0188170030}"/>
          </ac:spMkLst>
        </pc:spChg>
        <pc:grpChg chg="mod">
          <ac:chgData name="Kat Route-Stephens" userId="afc9be6f-3f55-4c4f-8e6c-a396774a1022" providerId="ADAL" clId="{85CD7015-87AE-452B-B9E9-3B35D693522C}" dt="2025-11-11T13:21:26.494" v="433" actId="1076"/>
          <ac:grpSpMkLst>
            <pc:docMk/>
            <pc:sldMk cId="484959162" sldId="2145704208"/>
            <ac:grpSpMk id="5" creationId="{8F1A5F7E-7919-B089-292A-786ACA7F2641}"/>
          </ac:grpSpMkLst>
        </pc:grpChg>
        <pc:graphicFrameChg chg="add mod ord modVis">
          <ac:chgData name="Kat Route-Stephens" userId="afc9be6f-3f55-4c4f-8e6c-a396774a1022" providerId="ADAL" clId="{85CD7015-87AE-452B-B9E9-3B35D693522C}" dt="2025-11-11T13:20:14.038" v="425"/>
          <ac:graphicFrameMkLst>
            <pc:docMk/>
            <pc:sldMk cId="484959162" sldId="2145704208"/>
            <ac:graphicFrameMk id="10" creationId="{CB2ADA58-D543-E053-C0BB-09B79091CE55}"/>
          </ac:graphicFrameMkLst>
        </pc:graphicFrameChg>
        <pc:picChg chg="add del mod">
          <ac:chgData name="Kat Route-Stephens" userId="afc9be6f-3f55-4c4f-8e6c-a396774a1022" providerId="ADAL" clId="{85CD7015-87AE-452B-B9E9-3B35D693522C}" dt="2025-11-11T13:20:18.769" v="427" actId="478"/>
          <ac:picMkLst>
            <pc:docMk/>
            <pc:sldMk cId="484959162" sldId="2145704208"/>
            <ac:picMk id="13" creationId="{BE98354D-A143-7E87-575F-A5463796F907}"/>
          </ac:picMkLst>
        </pc:picChg>
        <pc:picChg chg="add del mod">
          <ac:chgData name="Kat Route-Stephens" userId="afc9be6f-3f55-4c4f-8e6c-a396774a1022" providerId="ADAL" clId="{85CD7015-87AE-452B-B9E9-3B35D693522C}" dt="2025-11-11T13:20:04.381" v="416" actId="478"/>
          <ac:picMkLst>
            <pc:docMk/>
            <pc:sldMk cId="484959162" sldId="2145704208"/>
            <ac:picMk id="15" creationId="{D092F26F-0A16-0E50-7505-175D962A18AE}"/>
          </ac:picMkLst>
        </pc:picChg>
        <pc:picChg chg="add mod">
          <ac:chgData name="Kat Route-Stephens" userId="afc9be6f-3f55-4c4f-8e6c-a396774a1022" providerId="ADAL" clId="{85CD7015-87AE-452B-B9E9-3B35D693522C}" dt="2025-11-11T13:20:17.430" v="426" actId="1076"/>
          <ac:picMkLst>
            <pc:docMk/>
            <pc:sldMk cId="484959162" sldId="2145704208"/>
            <ac:picMk id="17" creationId="{3283D193-0D85-8CC3-CC36-345967B13A56}"/>
          </ac:picMkLst>
        </pc:picChg>
        <pc:picChg chg="add mod">
          <ac:chgData name="Kat Route-Stephens" userId="afc9be6f-3f55-4c4f-8e6c-a396774a1022" providerId="ADAL" clId="{85CD7015-87AE-452B-B9E9-3B35D693522C}" dt="2025-11-11T13:21:07.155" v="430" actId="1076"/>
          <ac:picMkLst>
            <pc:docMk/>
            <pc:sldMk cId="484959162" sldId="2145704208"/>
            <ac:picMk id="21" creationId="{EABEF8DB-1163-8597-DF61-17F0935A20B0}"/>
          </ac:picMkLst>
        </pc:picChg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112103434" sldId="2145704209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3864425254" sldId="2145704210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125814683" sldId="2145704211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789170622" sldId="2145704212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765945695" sldId="2145704213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2950887413" sldId="2145704214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1506850620" sldId="2145704215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3753868397" sldId="2145704216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1573029365" sldId="2145704217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4059510104" sldId="2145704218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318729682" sldId="2145704219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423735441" sldId="2145704220"/>
        </pc:sldMkLst>
      </pc:sldChg>
      <pc:sldChg chg="del ord">
        <pc:chgData name="Kat Route-Stephens" userId="afc9be6f-3f55-4c4f-8e6c-a396774a1022" providerId="ADAL" clId="{85CD7015-87AE-452B-B9E9-3B35D693522C}" dt="2025-11-11T14:06:31.744" v="2850" actId="47"/>
        <pc:sldMkLst>
          <pc:docMk/>
          <pc:sldMk cId="2245164898" sldId="2145704221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2696868853" sldId="2145704222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1710723872" sldId="2145704224"/>
        </pc:sldMkLst>
      </pc:sldChg>
      <pc:sldChg chg="del">
        <pc:chgData name="Kat Route-Stephens" userId="afc9be6f-3f55-4c4f-8e6c-a396774a1022" providerId="ADAL" clId="{85CD7015-87AE-452B-B9E9-3B35D693522C}" dt="2025-11-11T14:06:31.744" v="2850" actId="47"/>
        <pc:sldMkLst>
          <pc:docMk/>
          <pc:sldMk cId="1856373137" sldId="2145704225"/>
        </pc:sldMkLst>
      </pc:sldChg>
      <pc:sldChg chg="add del ord">
        <pc:chgData name="Kat Route-Stephens" userId="afc9be6f-3f55-4c4f-8e6c-a396774a1022" providerId="ADAL" clId="{85CD7015-87AE-452B-B9E9-3B35D693522C}" dt="2025-11-11T14:06:31.744" v="2850" actId="47"/>
        <pc:sldMkLst>
          <pc:docMk/>
          <pc:sldMk cId="496199757" sldId="2145704226"/>
        </pc:sldMkLst>
      </pc:sldChg>
      <pc:sldChg chg="add del">
        <pc:chgData name="Kat Route-Stephens" userId="afc9be6f-3f55-4c4f-8e6c-a396774a1022" providerId="ADAL" clId="{85CD7015-87AE-452B-B9E9-3B35D693522C}" dt="2025-11-11T13:19:38.772" v="413" actId="47"/>
        <pc:sldMkLst>
          <pc:docMk/>
          <pc:sldMk cId="2145225390" sldId="2145704227"/>
        </pc:sldMkLst>
      </pc:sldChg>
      <pc:sldChg chg="addSp delSp modSp add mod ord modNotesTx">
        <pc:chgData name="Kat Route-Stephens" userId="afc9be6f-3f55-4c4f-8e6c-a396774a1022" providerId="ADAL" clId="{85CD7015-87AE-452B-B9E9-3B35D693522C}" dt="2025-11-11T13:40:33.529" v="1633" actId="20577"/>
        <pc:sldMkLst>
          <pc:docMk/>
          <pc:sldMk cId="2957812524" sldId="2145704227"/>
        </pc:sldMkLst>
        <pc:spChg chg="del">
          <ac:chgData name="Kat Route-Stephens" userId="afc9be6f-3f55-4c4f-8e6c-a396774a1022" providerId="ADAL" clId="{85CD7015-87AE-452B-B9E9-3B35D693522C}" dt="2025-11-11T13:23:41.854" v="452" actId="478"/>
          <ac:spMkLst>
            <pc:docMk/>
            <pc:sldMk cId="2957812524" sldId="2145704227"/>
            <ac:spMk id="2" creationId="{CE232E99-A86B-2CD8-BE02-BAC3BA35022B}"/>
          </ac:spMkLst>
        </pc:spChg>
        <pc:spChg chg="del mod">
          <ac:chgData name="Kat Route-Stephens" userId="afc9be6f-3f55-4c4f-8e6c-a396774a1022" providerId="ADAL" clId="{85CD7015-87AE-452B-B9E9-3B35D693522C}" dt="2025-11-11T13:24:14.777" v="496" actId="478"/>
          <ac:spMkLst>
            <pc:docMk/>
            <pc:sldMk cId="2957812524" sldId="2145704227"/>
            <ac:spMk id="3" creationId="{F5D73847-761D-A2D1-CFC2-1A8C20B81055}"/>
          </ac:spMkLst>
        </pc:spChg>
        <pc:spChg chg="del">
          <ac:chgData name="Kat Route-Stephens" userId="afc9be6f-3f55-4c4f-8e6c-a396774a1022" providerId="ADAL" clId="{85CD7015-87AE-452B-B9E9-3B35D693522C}" dt="2025-11-11T13:23:39.384" v="437" actId="478"/>
          <ac:spMkLst>
            <pc:docMk/>
            <pc:sldMk cId="2957812524" sldId="2145704227"/>
            <ac:spMk id="4" creationId="{8FCB941E-4DD7-19AC-442A-7C78AF8087D1}"/>
          </ac:spMkLst>
        </pc:spChg>
        <pc:spChg chg="mod">
          <ac:chgData name="Kat Route-Stephens" userId="afc9be6f-3f55-4c4f-8e6c-a396774a1022" providerId="ADAL" clId="{85CD7015-87AE-452B-B9E9-3B35D693522C}" dt="2025-11-11T13:30:23.824" v="570" actId="1076"/>
          <ac:spMkLst>
            <pc:docMk/>
            <pc:sldMk cId="2957812524" sldId="2145704227"/>
            <ac:spMk id="5" creationId="{DCF17ACC-182A-31D3-28B5-6209A146986F}"/>
          </ac:spMkLst>
        </pc:spChg>
        <pc:spChg chg="add mod">
          <ac:chgData name="Kat Route-Stephens" userId="afc9be6f-3f55-4c4f-8e6c-a396774a1022" providerId="ADAL" clId="{85CD7015-87AE-452B-B9E9-3B35D693522C}" dt="2025-11-11T13:30:17.238" v="567" actId="1076"/>
          <ac:spMkLst>
            <pc:docMk/>
            <pc:sldMk cId="2957812524" sldId="2145704227"/>
            <ac:spMk id="8" creationId="{37031CBB-0D8E-FB89-4504-B27361D2C941}"/>
          </ac:spMkLst>
        </pc:spChg>
        <pc:spChg chg="add del mod modVis">
          <ac:chgData name="Kat Route-Stephens" userId="afc9be6f-3f55-4c4f-8e6c-a396774a1022" providerId="ADAL" clId="{85CD7015-87AE-452B-B9E9-3B35D693522C}" dt="2025-11-11T13:23:46.250" v="488"/>
          <ac:spMkLst>
            <pc:docMk/>
            <pc:sldMk cId="2957812524" sldId="2145704227"/>
            <ac:spMk id="10" creationId="{2FFAEA11-95BD-0079-2FDE-B3A526CAB9E2}"/>
          </ac:spMkLst>
        </pc:spChg>
        <pc:spChg chg="add del mod">
          <ac:chgData name="Kat Route-Stephens" userId="afc9be6f-3f55-4c4f-8e6c-a396774a1022" providerId="ADAL" clId="{85CD7015-87AE-452B-B9E9-3B35D693522C}" dt="2025-11-11T13:24:18.870" v="497" actId="478"/>
          <ac:spMkLst>
            <pc:docMk/>
            <pc:sldMk cId="2957812524" sldId="2145704227"/>
            <ac:spMk id="14" creationId="{9C3DDC6F-9DBC-8E29-D912-4CA427263441}"/>
          </ac:spMkLst>
        </pc:spChg>
        <pc:spChg chg="add mod">
          <ac:chgData name="Kat Route-Stephens" userId="afc9be6f-3f55-4c4f-8e6c-a396774a1022" providerId="ADAL" clId="{85CD7015-87AE-452B-B9E9-3B35D693522C}" dt="2025-11-11T13:30:30.852" v="572" actId="1076"/>
          <ac:spMkLst>
            <pc:docMk/>
            <pc:sldMk cId="2957812524" sldId="2145704227"/>
            <ac:spMk id="15" creationId="{1510870B-6F28-F83F-1E6F-A75AD35611B1}"/>
          </ac:spMkLst>
        </pc:spChg>
        <pc:graphicFrameChg chg="add mod ord modVis">
          <ac:chgData name="Kat Route-Stephens" userId="afc9be6f-3f55-4c4f-8e6c-a396774a1022" providerId="ADAL" clId="{85CD7015-87AE-452B-B9E9-3B35D693522C}" dt="2025-11-11T13:30:17.808" v="569"/>
          <ac:graphicFrameMkLst>
            <pc:docMk/>
            <pc:sldMk cId="2957812524" sldId="2145704227"/>
            <ac:graphicFrameMk id="9" creationId="{6136726C-DF5F-8C42-3386-F99A2E53D558}"/>
          </ac:graphicFrameMkLst>
        </pc:graphicFrameChg>
        <pc:picChg chg="add mod">
          <ac:chgData name="Kat Route-Stephens" userId="afc9be6f-3f55-4c4f-8e6c-a396774a1022" providerId="ADAL" clId="{85CD7015-87AE-452B-B9E9-3B35D693522C}" dt="2025-11-11T13:30:23.824" v="570" actId="1076"/>
          <ac:picMkLst>
            <pc:docMk/>
            <pc:sldMk cId="2957812524" sldId="2145704227"/>
            <ac:picMk id="11" creationId="{E8776F0F-DCB1-B260-3838-ADCFDC6E86DF}"/>
          </ac:picMkLst>
        </pc:picChg>
        <pc:picChg chg="add mod">
          <ac:chgData name="Kat Route-Stephens" userId="afc9be6f-3f55-4c4f-8e6c-a396774a1022" providerId="ADAL" clId="{85CD7015-87AE-452B-B9E9-3B35D693522C}" dt="2025-11-11T13:30:27.314" v="571" actId="1076"/>
          <ac:picMkLst>
            <pc:docMk/>
            <pc:sldMk cId="2957812524" sldId="2145704227"/>
            <ac:picMk id="12" creationId="{9F76C789-EC75-668C-E7C0-7A2A167FD840}"/>
          </ac:picMkLst>
        </pc:picChg>
        <pc:picChg chg="add del">
          <ac:chgData name="Kat Route-Stephens" userId="afc9be6f-3f55-4c4f-8e6c-a396774a1022" providerId="ADAL" clId="{85CD7015-87AE-452B-B9E9-3B35D693522C}" dt="2025-11-11T13:25:15.669" v="512" actId="22"/>
          <ac:picMkLst>
            <pc:docMk/>
            <pc:sldMk cId="2957812524" sldId="2145704227"/>
            <ac:picMk id="17" creationId="{4C0FD2FC-283A-38F8-05BF-40BA786470EB}"/>
          </ac:picMkLst>
        </pc:picChg>
      </pc:sldChg>
      <pc:sldChg chg="addSp delSp modSp add mod">
        <pc:chgData name="Kat Route-Stephens" userId="afc9be6f-3f55-4c4f-8e6c-a396774a1022" providerId="ADAL" clId="{85CD7015-87AE-452B-B9E9-3B35D693522C}" dt="2025-11-11T14:05:28.265" v="2808" actId="108"/>
        <pc:sldMkLst>
          <pc:docMk/>
          <pc:sldMk cId="3558555656" sldId="2145704228"/>
        </pc:sldMkLst>
        <pc:spChg chg="mod">
          <ac:chgData name="Kat Route-Stephens" userId="afc9be6f-3f55-4c4f-8e6c-a396774a1022" providerId="ADAL" clId="{85CD7015-87AE-452B-B9E9-3B35D693522C}" dt="2025-11-11T14:01:41.864" v="2507" actId="948"/>
          <ac:spMkLst>
            <pc:docMk/>
            <pc:sldMk cId="3558555656" sldId="2145704228"/>
            <ac:spMk id="4" creationId="{0C558071-C916-555F-8507-F41D6738FF13}"/>
          </ac:spMkLst>
        </pc:spChg>
        <pc:spChg chg="mod">
          <ac:chgData name="Kat Route-Stephens" userId="afc9be6f-3f55-4c4f-8e6c-a396774a1022" providerId="ADAL" clId="{85CD7015-87AE-452B-B9E9-3B35D693522C}" dt="2025-11-11T14:05:28.265" v="2808" actId="108"/>
          <ac:spMkLst>
            <pc:docMk/>
            <pc:sldMk cId="3558555656" sldId="2145704228"/>
            <ac:spMk id="5" creationId="{22602B44-39C6-4679-776B-23B74F4DCB59}"/>
          </ac:spMkLst>
        </pc:spChg>
        <pc:spChg chg="add del mod modVis">
          <ac:chgData name="Kat Route-Stephens" userId="afc9be6f-3f55-4c4f-8e6c-a396774a1022" providerId="ADAL" clId="{85CD7015-87AE-452B-B9E9-3B35D693522C}" dt="2025-11-11T13:33:18.205" v="743"/>
          <ac:spMkLst>
            <pc:docMk/>
            <pc:sldMk cId="3558555656" sldId="2145704228"/>
            <ac:spMk id="6" creationId="{7974D302-B3DD-7970-7656-6E951C4F4C9B}"/>
          </ac:spMkLst>
        </pc:spChg>
        <pc:spChg chg="add del mod modVis">
          <ac:chgData name="Kat Route-Stephens" userId="afc9be6f-3f55-4c4f-8e6c-a396774a1022" providerId="ADAL" clId="{85CD7015-87AE-452B-B9E9-3B35D693522C}" dt="2025-11-11T13:33:20.400" v="787"/>
          <ac:spMkLst>
            <pc:docMk/>
            <pc:sldMk cId="3558555656" sldId="2145704228"/>
            <ac:spMk id="8" creationId="{9C12BC0C-1880-573E-42B3-E756F7C7830A}"/>
          </ac:spMkLst>
        </pc:spChg>
        <pc:spChg chg="add del mod modVis">
          <ac:chgData name="Kat Route-Stephens" userId="afc9be6f-3f55-4c4f-8e6c-a396774a1022" providerId="ADAL" clId="{85CD7015-87AE-452B-B9E9-3B35D693522C}" dt="2025-11-11T13:33:23.164" v="826"/>
          <ac:spMkLst>
            <pc:docMk/>
            <pc:sldMk cId="3558555656" sldId="2145704228"/>
            <ac:spMk id="9" creationId="{50FF611E-3809-E493-3A16-70B171A624F6}"/>
          </ac:spMkLst>
        </pc:spChg>
        <pc:spChg chg="add del mod modVis">
          <ac:chgData name="Kat Route-Stephens" userId="afc9be6f-3f55-4c4f-8e6c-a396774a1022" providerId="ADAL" clId="{85CD7015-87AE-452B-B9E9-3B35D693522C}" dt="2025-11-11T13:33:26.033" v="852"/>
          <ac:spMkLst>
            <pc:docMk/>
            <pc:sldMk cId="3558555656" sldId="2145704228"/>
            <ac:spMk id="10" creationId="{381D7BDA-3D0B-C7D7-A5D1-82C3FFB15822}"/>
          </ac:spMkLst>
        </pc:spChg>
        <pc:spChg chg="add del mod modVis">
          <ac:chgData name="Kat Route-Stephens" userId="afc9be6f-3f55-4c4f-8e6c-a396774a1022" providerId="ADAL" clId="{85CD7015-87AE-452B-B9E9-3B35D693522C}" dt="2025-11-11T14:01:35.642" v="2438"/>
          <ac:spMkLst>
            <pc:docMk/>
            <pc:sldMk cId="3558555656" sldId="2145704228"/>
            <ac:spMk id="13" creationId="{4B68DA13-62CE-4A2F-A060-753C2B97B11D}"/>
          </ac:spMkLst>
        </pc:spChg>
        <pc:spChg chg="add del mod modVis">
          <ac:chgData name="Kat Route-Stephens" userId="afc9be6f-3f55-4c4f-8e6c-a396774a1022" providerId="ADAL" clId="{85CD7015-87AE-452B-B9E9-3B35D693522C}" dt="2025-11-11T14:01:36.488" v="2468"/>
          <ac:spMkLst>
            <pc:docMk/>
            <pc:sldMk cId="3558555656" sldId="2145704228"/>
            <ac:spMk id="14" creationId="{67132F3A-48FF-6C7E-1C5F-C40FC16A9915}"/>
          </ac:spMkLst>
        </pc:spChg>
        <pc:spChg chg="add del mod modVis">
          <ac:chgData name="Kat Route-Stephens" userId="afc9be6f-3f55-4c4f-8e6c-a396774a1022" providerId="ADAL" clId="{85CD7015-87AE-452B-B9E9-3B35D693522C}" dt="2025-11-11T14:01:38.178" v="2503"/>
          <ac:spMkLst>
            <pc:docMk/>
            <pc:sldMk cId="3558555656" sldId="2145704228"/>
            <ac:spMk id="15" creationId="{88900504-D889-BDB9-2604-957F74091501}"/>
          </ac:spMkLst>
        </pc:spChg>
        <pc:spChg chg="add del mod modVis">
          <ac:chgData name="Kat Route-Stephens" userId="afc9be6f-3f55-4c4f-8e6c-a396774a1022" providerId="ADAL" clId="{85CD7015-87AE-452B-B9E9-3B35D693522C}" dt="2025-11-11T14:01:41.902" v="2529"/>
          <ac:spMkLst>
            <pc:docMk/>
            <pc:sldMk cId="3558555656" sldId="2145704228"/>
            <ac:spMk id="16" creationId="{35B3A1A6-E05B-5EE9-DEAB-915376CC579B}"/>
          </ac:spMkLst>
        </pc:spChg>
        <pc:graphicFrameChg chg="add mod ord modVis">
          <ac:chgData name="Kat Route-Stephens" userId="afc9be6f-3f55-4c4f-8e6c-a396774a1022" providerId="ADAL" clId="{85CD7015-87AE-452B-B9E9-3B35D693522C}" dt="2025-11-11T14:01:41.904" v="2531"/>
          <ac:graphicFrameMkLst>
            <pc:docMk/>
            <pc:sldMk cId="3558555656" sldId="2145704228"/>
            <ac:graphicFrameMk id="7" creationId="{C031E0A4-AEBB-50CF-4B1C-2B8479D5CBC6}"/>
          </ac:graphicFrameMkLst>
        </pc:graphicFrameChg>
        <pc:picChg chg="add del mod">
          <ac:chgData name="Kat Route-Stephens" userId="afc9be6f-3f55-4c4f-8e6c-a396774a1022" providerId="ADAL" clId="{85CD7015-87AE-452B-B9E9-3B35D693522C}" dt="2025-11-11T14:00:36.570" v="2394" actId="21"/>
          <ac:picMkLst>
            <pc:docMk/>
            <pc:sldMk cId="3558555656" sldId="2145704228"/>
            <ac:picMk id="11" creationId="{7BFE5BD1-1F11-F8AA-6934-1861BBE72CD9}"/>
          </ac:picMkLst>
        </pc:picChg>
        <pc:picChg chg="add mod">
          <ac:chgData name="Kat Route-Stephens" userId="afc9be6f-3f55-4c4f-8e6c-a396774a1022" providerId="ADAL" clId="{85CD7015-87AE-452B-B9E9-3B35D693522C}" dt="2025-11-11T14:01:29.467" v="2399" actId="1076"/>
          <ac:picMkLst>
            <pc:docMk/>
            <pc:sldMk cId="3558555656" sldId="2145704228"/>
            <ac:picMk id="12" creationId="{057D6D2B-39E8-3098-9B71-C844399053BB}"/>
          </ac:picMkLst>
        </pc:picChg>
      </pc:sldChg>
      <pc:sldChg chg="addSp delSp modSp add mod ord">
        <pc:chgData name="Kat Route-Stephens" userId="afc9be6f-3f55-4c4f-8e6c-a396774a1022" providerId="ADAL" clId="{85CD7015-87AE-452B-B9E9-3B35D693522C}" dt="2025-11-11T14:08:12.785" v="2852" actId="1076"/>
        <pc:sldMkLst>
          <pc:docMk/>
          <pc:sldMk cId="1559428910" sldId="2145704229"/>
        </pc:sldMkLst>
        <pc:spChg chg="del">
          <ac:chgData name="Kat Route-Stephens" userId="afc9be6f-3f55-4c4f-8e6c-a396774a1022" providerId="ADAL" clId="{85CD7015-87AE-452B-B9E9-3B35D693522C}" dt="2025-11-11T13:45:45.904" v="1732" actId="478"/>
          <ac:spMkLst>
            <pc:docMk/>
            <pc:sldMk cId="1559428910" sldId="2145704229"/>
            <ac:spMk id="3" creationId="{D482B1AB-F142-5F1C-DEAC-A21746FB3924}"/>
          </ac:spMkLst>
        </pc:spChg>
        <pc:spChg chg="mod">
          <ac:chgData name="Kat Route-Stephens" userId="afc9be6f-3f55-4c4f-8e6c-a396774a1022" providerId="ADAL" clId="{85CD7015-87AE-452B-B9E9-3B35D693522C}" dt="2025-11-11T13:45:31.459" v="1702" actId="948"/>
          <ac:spMkLst>
            <pc:docMk/>
            <pc:sldMk cId="1559428910" sldId="2145704229"/>
            <ac:spMk id="4" creationId="{E460569F-2F8A-BE62-3F34-96F40AFD6C79}"/>
          </ac:spMkLst>
        </pc:spChg>
        <pc:spChg chg="del mod">
          <ac:chgData name="Kat Route-Stephens" userId="afc9be6f-3f55-4c4f-8e6c-a396774a1022" providerId="ADAL" clId="{85CD7015-87AE-452B-B9E9-3B35D693522C}" dt="2025-11-11T13:36:57.946" v="1399" actId="478"/>
          <ac:spMkLst>
            <pc:docMk/>
            <pc:sldMk cId="1559428910" sldId="2145704229"/>
            <ac:spMk id="5" creationId="{0432FA11-9D94-CF5D-ED06-148B1857B05F}"/>
          </ac:spMkLst>
        </pc:spChg>
        <pc:spChg chg="add del mod modVis">
          <ac:chgData name="Kat Route-Stephens" userId="afc9be6f-3f55-4c4f-8e6c-a396774a1022" providerId="ADAL" clId="{85CD7015-87AE-452B-B9E9-3B35D693522C}" dt="2025-11-11T13:34:07.283" v="949"/>
          <ac:spMkLst>
            <pc:docMk/>
            <pc:sldMk cId="1559428910" sldId="2145704229"/>
            <ac:spMk id="6" creationId="{D18622BA-A7F1-308C-0571-8D25D545ACE2}"/>
          </ac:spMkLst>
        </pc:spChg>
        <pc:spChg chg="add del mod modVis">
          <ac:chgData name="Kat Route-Stephens" userId="afc9be6f-3f55-4c4f-8e6c-a396774a1022" providerId="ADAL" clId="{85CD7015-87AE-452B-B9E9-3B35D693522C}" dt="2025-11-11T13:34:07.903" v="975"/>
          <ac:spMkLst>
            <pc:docMk/>
            <pc:sldMk cId="1559428910" sldId="2145704229"/>
            <ac:spMk id="8" creationId="{FA17F7DF-B8BC-1622-1360-F3057E5A59FC}"/>
          </ac:spMkLst>
        </pc:spChg>
        <pc:spChg chg="add del mod modVis">
          <ac:chgData name="Kat Route-Stephens" userId="afc9be6f-3f55-4c4f-8e6c-a396774a1022" providerId="ADAL" clId="{85CD7015-87AE-452B-B9E9-3B35D693522C}" dt="2025-11-11T13:34:09.509" v="1009"/>
          <ac:spMkLst>
            <pc:docMk/>
            <pc:sldMk cId="1559428910" sldId="2145704229"/>
            <ac:spMk id="9" creationId="{229D8C35-D73E-EF4D-3A23-3132889C7EC3}"/>
          </ac:spMkLst>
        </pc:spChg>
        <pc:spChg chg="add del mod modVis">
          <ac:chgData name="Kat Route-Stephens" userId="afc9be6f-3f55-4c4f-8e6c-a396774a1022" providerId="ADAL" clId="{85CD7015-87AE-452B-B9E9-3B35D693522C}" dt="2025-11-11T13:34:12.717" v="1035"/>
          <ac:spMkLst>
            <pc:docMk/>
            <pc:sldMk cId="1559428910" sldId="2145704229"/>
            <ac:spMk id="10" creationId="{7E6458E6-E917-A0E8-8E20-EAAB45428971}"/>
          </ac:spMkLst>
        </pc:spChg>
        <pc:spChg chg="add del mod modVis">
          <ac:chgData name="Kat Route-Stephens" userId="afc9be6f-3f55-4c4f-8e6c-a396774a1022" providerId="ADAL" clId="{85CD7015-87AE-452B-B9E9-3B35D693522C}" dt="2025-11-11T13:34:46.078" v="1099"/>
          <ac:spMkLst>
            <pc:docMk/>
            <pc:sldMk cId="1559428910" sldId="2145704229"/>
            <ac:spMk id="11" creationId="{6B09B58C-E577-244E-CCBB-19CF4DA87377}"/>
          </ac:spMkLst>
        </pc:spChg>
        <pc:spChg chg="add del mod modVis">
          <ac:chgData name="Kat Route-Stephens" userId="afc9be6f-3f55-4c4f-8e6c-a396774a1022" providerId="ADAL" clId="{85CD7015-87AE-452B-B9E9-3B35D693522C}" dt="2025-11-11T13:34:48.737" v="1141"/>
          <ac:spMkLst>
            <pc:docMk/>
            <pc:sldMk cId="1559428910" sldId="2145704229"/>
            <ac:spMk id="12" creationId="{AA4C2D1A-95FA-EF96-1A75-113DE7789902}"/>
          </ac:spMkLst>
        </pc:spChg>
        <pc:spChg chg="add del mod modVis">
          <ac:chgData name="Kat Route-Stephens" userId="afc9be6f-3f55-4c4f-8e6c-a396774a1022" providerId="ADAL" clId="{85CD7015-87AE-452B-B9E9-3B35D693522C}" dt="2025-11-11T13:34:51.253" v="1175"/>
          <ac:spMkLst>
            <pc:docMk/>
            <pc:sldMk cId="1559428910" sldId="2145704229"/>
            <ac:spMk id="13" creationId="{425AC2E6-8C18-409E-1AF3-CCAABA0EC6C1}"/>
          </ac:spMkLst>
        </pc:spChg>
        <pc:spChg chg="add del mod modVis">
          <ac:chgData name="Kat Route-Stephens" userId="afc9be6f-3f55-4c4f-8e6c-a396774a1022" providerId="ADAL" clId="{85CD7015-87AE-452B-B9E9-3B35D693522C}" dt="2025-11-11T13:34:52.232" v="1203"/>
          <ac:spMkLst>
            <pc:docMk/>
            <pc:sldMk cId="1559428910" sldId="2145704229"/>
            <ac:spMk id="14" creationId="{6B59ADE9-8BF2-35E3-5993-CA689B53E94E}"/>
          </ac:spMkLst>
        </pc:spChg>
        <pc:spChg chg="add del mod modVis">
          <ac:chgData name="Kat Route-Stephens" userId="afc9be6f-3f55-4c4f-8e6c-a396774a1022" providerId="ADAL" clId="{85CD7015-87AE-452B-B9E9-3B35D693522C}" dt="2025-11-11T13:34:53.100" v="1230"/>
          <ac:spMkLst>
            <pc:docMk/>
            <pc:sldMk cId="1559428910" sldId="2145704229"/>
            <ac:spMk id="15" creationId="{DAD8B113-23EF-B480-C18D-1B03C265D78F}"/>
          </ac:spMkLst>
        </pc:spChg>
        <pc:spChg chg="add del mod modVis">
          <ac:chgData name="Kat Route-Stephens" userId="afc9be6f-3f55-4c4f-8e6c-a396774a1022" providerId="ADAL" clId="{85CD7015-87AE-452B-B9E9-3B35D693522C}" dt="2025-11-11T13:34:55.788" v="1256"/>
          <ac:spMkLst>
            <pc:docMk/>
            <pc:sldMk cId="1559428910" sldId="2145704229"/>
            <ac:spMk id="16" creationId="{432D3499-A4A2-9C55-8DB6-1CFE63692192}"/>
          </ac:spMkLst>
        </pc:spChg>
        <pc:spChg chg="add del mod">
          <ac:chgData name="Kat Route-Stephens" userId="afc9be6f-3f55-4c4f-8e6c-a396774a1022" providerId="ADAL" clId="{85CD7015-87AE-452B-B9E9-3B35D693522C}" dt="2025-11-11T13:36:08.500" v="1390" actId="22"/>
          <ac:spMkLst>
            <pc:docMk/>
            <pc:sldMk cId="1559428910" sldId="2145704229"/>
            <ac:spMk id="18" creationId="{F52999DD-4C30-0F9A-5822-40A39D498455}"/>
          </ac:spMkLst>
        </pc:spChg>
        <pc:spChg chg="add mod">
          <ac:chgData name="Kat Route-Stephens" userId="afc9be6f-3f55-4c4f-8e6c-a396774a1022" providerId="ADAL" clId="{85CD7015-87AE-452B-B9E9-3B35D693522C}" dt="2025-11-11T13:42:01.630" v="1687" actId="14100"/>
          <ac:spMkLst>
            <pc:docMk/>
            <pc:sldMk cId="1559428910" sldId="2145704229"/>
            <ac:spMk id="19" creationId="{C86D4DEA-D446-930C-BE2D-6439E8966EF2}"/>
          </ac:spMkLst>
        </pc:spChg>
        <pc:spChg chg="add del mod">
          <ac:chgData name="Kat Route-Stephens" userId="afc9be6f-3f55-4c4f-8e6c-a396774a1022" providerId="ADAL" clId="{85CD7015-87AE-452B-B9E9-3B35D693522C}" dt="2025-11-11T13:36:59.997" v="1400" actId="478"/>
          <ac:spMkLst>
            <pc:docMk/>
            <pc:sldMk cId="1559428910" sldId="2145704229"/>
            <ac:spMk id="21" creationId="{2C045A93-36B7-DD15-6923-64772063A55F}"/>
          </ac:spMkLst>
        </pc:spChg>
        <pc:spChg chg="add del mod modVis">
          <ac:chgData name="Kat Route-Stephens" userId="afc9be6f-3f55-4c4f-8e6c-a396774a1022" providerId="ADAL" clId="{85CD7015-87AE-452B-B9E9-3B35D693522C}" dt="2025-11-11T13:45:31.491" v="1724"/>
          <ac:spMkLst>
            <pc:docMk/>
            <pc:sldMk cId="1559428910" sldId="2145704229"/>
            <ac:spMk id="25" creationId="{01BF6CB3-5E24-C490-E4AF-4FF2DAED1543}"/>
          </ac:spMkLst>
        </pc:spChg>
        <pc:spChg chg="add del mod">
          <ac:chgData name="Kat Route-Stephens" userId="afc9be6f-3f55-4c4f-8e6c-a396774a1022" providerId="ADAL" clId="{85CD7015-87AE-452B-B9E9-3B35D693522C}" dt="2025-11-11T13:53:02.168" v="2185" actId="478"/>
          <ac:spMkLst>
            <pc:docMk/>
            <pc:sldMk cId="1559428910" sldId="2145704229"/>
            <ac:spMk id="27" creationId="{98DB1718-C055-E668-030D-758F2849607A}"/>
          </ac:spMkLst>
        </pc:spChg>
        <pc:graphicFrameChg chg="mod">
          <ac:chgData name="Kat Route-Stephens" userId="afc9be6f-3f55-4c4f-8e6c-a396774a1022" providerId="ADAL" clId="{85CD7015-87AE-452B-B9E9-3B35D693522C}" dt="2025-11-11T13:45:31.491" v="1726"/>
          <ac:graphicFrameMkLst>
            <pc:docMk/>
            <pc:sldMk cId="1559428910" sldId="2145704229"/>
            <ac:graphicFrameMk id="7" creationId="{AC6C9D8D-CECC-CD1B-93FF-2E14215E049D}"/>
          </ac:graphicFrameMkLst>
        </pc:graphicFrameChg>
        <pc:picChg chg="add mod">
          <ac:chgData name="Kat Route-Stephens" userId="afc9be6f-3f55-4c4f-8e6c-a396774a1022" providerId="ADAL" clId="{85CD7015-87AE-452B-B9E9-3B35D693522C}" dt="2025-11-11T14:08:12.785" v="2852" actId="1076"/>
          <ac:picMkLst>
            <pc:docMk/>
            <pc:sldMk cId="1559428910" sldId="2145704229"/>
            <ac:picMk id="22" creationId="{FCE44A17-A6ED-A733-06A4-C07C22F5EF9A}"/>
          </ac:picMkLst>
        </pc:picChg>
        <pc:picChg chg="add del mod">
          <ac:chgData name="Kat Route-Stephens" userId="afc9be6f-3f55-4c4f-8e6c-a396774a1022" providerId="ADAL" clId="{85CD7015-87AE-452B-B9E9-3B35D693522C}" dt="2025-11-11T13:45:53.996" v="1735" actId="478"/>
          <ac:picMkLst>
            <pc:docMk/>
            <pc:sldMk cId="1559428910" sldId="2145704229"/>
            <ac:picMk id="24" creationId="{B5A331DE-2710-47E3-58CA-81297E9BA9F2}"/>
          </ac:picMkLst>
        </pc:picChg>
      </pc:sldChg>
      <pc:sldChg chg="addSp modSp new mod modAnim">
        <pc:chgData name="Kat Route-Stephens" userId="afc9be6f-3f55-4c4f-8e6c-a396774a1022" providerId="ADAL" clId="{85CD7015-87AE-452B-B9E9-3B35D693522C}" dt="2025-11-11T13:57:10.189" v="2250" actId="1076"/>
        <pc:sldMkLst>
          <pc:docMk/>
          <pc:sldMk cId="3611742613" sldId="2145704230"/>
        </pc:sldMkLst>
        <pc:spChg chg="add mod">
          <ac:chgData name="Kat Route-Stephens" userId="afc9be6f-3f55-4c4f-8e6c-a396774a1022" providerId="ADAL" clId="{85CD7015-87AE-452B-B9E9-3B35D693522C}" dt="2025-11-11T13:56:56.807" v="2240" actId="2711"/>
          <ac:spMkLst>
            <pc:docMk/>
            <pc:sldMk cId="3611742613" sldId="2145704230"/>
            <ac:spMk id="5" creationId="{9F452276-9A3A-088E-3EC8-7278BAA53812}"/>
          </ac:spMkLst>
        </pc:spChg>
        <pc:spChg chg="add mod">
          <ac:chgData name="Kat Route-Stephens" userId="afc9be6f-3f55-4c4f-8e6c-a396774a1022" providerId="ADAL" clId="{85CD7015-87AE-452B-B9E9-3B35D693522C}" dt="2025-11-11T13:56:37.631" v="2234" actId="1076"/>
          <ac:spMkLst>
            <pc:docMk/>
            <pc:sldMk cId="3611742613" sldId="2145704230"/>
            <ac:spMk id="6" creationId="{8EC815F4-2DD7-D0F7-0EA0-0D35484AC305}"/>
          </ac:spMkLst>
        </pc:spChg>
        <pc:spChg chg="add mod">
          <ac:chgData name="Kat Route-Stephens" userId="afc9be6f-3f55-4c4f-8e6c-a396774a1022" providerId="ADAL" clId="{85CD7015-87AE-452B-B9E9-3B35D693522C}" dt="2025-11-11T13:57:03.026" v="2248" actId="20577"/>
          <ac:spMkLst>
            <pc:docMk/>
            <pc:sldMk cId="3611742613" sldId="2145704230"/>
            <ac:spMk id="7" creationId="{02E72FBD-9224-11DD-1256-A0F3D89E342F}"/>
          </ac:spMkLst>
        </pc:spChg>
        <pc:picChg chg="add mod modCrop">
          <ac:chgData name="Kat Route-Stephens" userId="afc9be6f-3f55-4c4f-8e6c-a396774a1022" providerId="ADAL" clId="{85CD7015-87AE-452B-B9E9-3B35D693522C}" dt="2025-11-11T13:57:07.909" v="2249" actId="1076"/>
          <ac:picMkLst>
            <pc:docMk/>
            <pc:sldMk cId="3611742613" sldId="2145704230"/>
            <ac:picMk id="3" creationId="{F915A17F-F9E5-0E8B-36FF-C31EC009D50B}"/>
          </ac:picMkLst>
        </pc:picChg>
        <pc:picChg chg="add mod">
          <ac:chgData name="Kat Route-Stephens" userId="afc9be6f-3f55-4c4f-8e6c-a396774a1022" providerId="ADAL" clId="{85CD7015-87AE-452B-B9E9-3B35D693522C}" dt="2025-11-11T13:57:10.189" v="2250" actId="1076"/>
          <ac:picMkLst>
            <pc:docMk/>
            <pc:sldMk cId="3611742613" sldId="2145704230"/>
            <ac:picMk id="4" creationId="{8D43BB86-CE87-AFD5-6679-FA1530262E62}"/>
          </ac:picMkLst>
        </pc:picChg>
      </pc:sldChg>
      <pc:sldChg chg="addSp delSp modSp add mod">
        <pc:chgData name="Kat Route-Stephens" userId="afc9be6f-3f55-4c4f-8e6c-a396774a1022" providerId="ADAL" clId="{85CD7015-87AE-452B-B9E9-3B35D693522C}" dt="2025-11-11T14:08:52.950" v="2901" actId="207"/>
        <pc:sldMkLst>
          <pc:docMk/>
          <pc:sldMk cId="3172916256" sldId="2145704231"/>
        </pc:sldMkLst>
        <pc:spChg chg="add del mod">
          <ac:chgData name="Kat Route-Stephens" userId="afc9be6f-3f55-4c4f-8e6c-a396774a1022" providerId="ADAL" clId="{85CD7015-87AE-452B-B9E9-3B35D693522C}" dt="2025-11-11T14:08:26.368" v="2855" actId="478"/>
          <ac:spMkLst>
            <pc:docMk/>
            <pc:sldMk cId="3172916256" sldId="2145704231"/>
            <ac:spMk id="3" creationId="{E10FF97A-3DA1-33A6-229A-059A5CDB8FD5}"/>
          </ac:spMkLst>
        </pc:spChg>
        <pc:spChg chg="mod">
          <ac:chgData name="Kat Route-Stephens" userId="afc9be6f-3f55-4c4f-8e6c-a396774a1022" providerId="ADAL" clId="{85CD7015-87AE-452B-B9E9-3B35D693522C}" dt="2025-11-11T14:08:52.950" v="2901" actId="207"/>
          <ac:spMkLst>
            <pc:docMk/>
            <pc:sldMk cId="3172916256" sldId="2145704231"/>
            <ac:spMk id="5" creationId="{5B687D3B-9D7C-2AF6-F7E7-ED387C392ED4}"/>
          </ac:spMkLst>
        </pc:spChg>
        <pc:spChg chg="del">
          <ac:chgData name="Kat Route-Stephens" userId="afc9be6f-3f55-4c4f-8e6c-a396774a1022" providerId="ADAL" clId="{85CD7015-87AE-452B-B9E9-3B35D693522C}" dt="2025-11-11T14:06:14.928" v="2849" actId="478"/>
          <ac:spMkLst>
            <pc:docMk/>
            <pc:sldMk cId="3172916256" sldId="2145704231"/>
            <ac:spMk id="11" creationId="{4C63B30E-2C11-88D9-1BC7-006866BB7D5C}"/>
          </ac:spMkLst>
        </pc:spChg>
        <pc:picChg chg="add del mod">
          <ac:chgData name="Kat Route-Stephens" userId="afc9be6f-3f55-4c4f-8e6c-a396774a1022" providerId="ADAL" clId="{85CD7015-87AE-452B-B9E9-3B35D693522C}" dt="2025-11-11T14:08:30.579" v="2857" actId="1076"/>
          <ac:picMkLst>
            <pc:docMk/>
            <pc:sldMk cId="3172916256" sldId="2145704231"/>
            <ac:picMk id="6" creationId="{B3264741-F5BF-7935-E5A2-20908F8A6324}"/>
          </ac:picMkLst>
        </pc:picChg>
      </pc:sldChg>
      <pc:sldChg chg="add del">
        <pc:chgData name="Kat Route-Stephens" userId="afc9be6f-3f55-4c4f-8e6c-a396774a1022" providerId="ADAL" clId="{85CD7015-87AE-452B-B9E9-3B35D693522C}" dt="2025-11-11T13:59:02.763" v="2295"/>
        <pc:sldMkLst>
          <pc:docMk/>
          <pc:sldMk cId="3268754668" sldId="2145704231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AAC0980B-94B7-434D-B2B9-C342E18E8FB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E9F50DED-46A3-4635-8BC6-889B7F327C4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5BD8BF-B3DA-4835-8FE6-16F2122F14C3}" type="datetimeFigureOut">
              <a:rPr lang="fr-FR" smtClean="0"/>
              <a:t>12/11/2025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FEC7DABF-F80B-4025-AC72-D67034796E8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59C3AF4-F4A8-4911-96BC-0CDE102D4ED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7307EF-F441-439F-B3D0-459998084AD2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136199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9C7F58-FFED-4AB2-AFEE-E2C64028A8C8}" type="datetimeFigureOut">
              <a:rPr lang="fr-FR" smtClean="0"/>
              <a:t>12/11/2025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FA54D5-A44E-4E96-8740-D681D23A3842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33136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FA54D5-A44E-4E96-8740-D681D23A3842}" type="slidenum">
              <a:rPr lang="fr-FR" smtClean="0"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519309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FA54D5-A44E-4E96-8740-D681D23A3842}" type="slidenum">
              <a:rPr lang="fr-FR" smtClean="0"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397148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We advocate passionately and successfully for the </a:t>
            </a:r>
            <a:r>
              <a:rPr lang="en-GB" sz="1200" b="1" dirty="0">
                <a:solidFill>
                  <a:srgbClr val="7AD0F3"/>
                </a:solidFill>
                <a:latin typeface="Poppins" pitchFamily="2" charset="77"/>
                <a:cs typeface="Poppins" pitchFamily="2" charset="77"/>
              </a:rPr>
              <a:t>UK renewables industry, </a:t>
            </a:r>
            <a:r>
              <a:rPr lang="en-GB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bringing our members together to amplify results and accelerate the journey to net zero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FA54D5-A44E-4E96-8740-D681D23A3842}" type="slidenum">
              <a:rPr lang="fr-FR" smtClean="0"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263071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5075" y="742950"/>
            <a:ext cx="4411663" cy="2482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5D3BF3-D352-46FC-8343-31F56E6730EA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79851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5075" y="742950"/>
            <a:ext cx="4411663" cy="2482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5D3BF3-D352-46FC-8343-31F56E6730EA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95078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GB" sz="1800" b="1" dirty="0">
                <a:solidFill>
                  <a:srgbClr val="008634"/>
                </a:solidFill>
              </a:rPr>
              <a:t>Uncertainty: costs &amp; timelines</a:t>
            </a:r>
          </a:p>
          <a:p>
            <a:pPr marL="0" lvl="2" indent="0">
              <a:buNone/>
            </a:pPr>
            <a:r>
              <a:rPr lang="en-GB" sz="1800" dirty="0"/>
              <a:t>Consenting determination timelines being extended and increasing costs across all aspects, creating uncertainty </a:t>
            </a:r>
          </a:p>
          <a:p>
            <a:pPr lvl="1"/>
            <a:br>
              <a:rPr lang="en-GB" sz="1800" b="1" dirty="0">
                <a:solidFill>
                  <a:srgbClr val="008634"/>
                </a:solidFill>
              </a:rPr>
            </a:br>
            <a:r>
              <a:rPr lang="en-GB" sz="1800" b="1" dirty="0">
                <a:solidFill>
                  <a:srgbClr val="008634"/>
                </a:solidFill>
              </a:rPr>
              <a:t>Strategic Compensation </a:t>
            </a:r>
          </a:p>
          <a:p>
            <a:pPr marL="0" lvl="2" indent="0">
              <a:buNone/>
            </a:pPr>
            <a:r>
              <a:rPr lang="en-GB" sz="1800" dirty="0"/>
              <a:t>Finding suitable compensatory measures for seabird and benthic features. Work underway with government to establish a Marine Recovery Fund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FA54D5-A44E-4E96-8740-D681D23A3842}" type="slidenum">
              <a:rPr lang="fr-FR" smtClean="0"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8285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FA54D5-A44E-4E96-8740-D681D23A3842}" type="slidenum">
              <a:rPr lang="fr-FR" smtClean="0"/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56403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3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1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2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7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34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3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7" Type="http://schemas.openxmlformats.org/officeDocument/2006/relationships/image" Target="../media/image1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7" Type="http://schemas.openxmlformats.org/officeDocument/2006/relationships/image" Target="../media/image20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7" Type="http://schemas.openxmlformats.org/officeDocument/2006/relationships/image" Target="../media/image16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7" Type="http://schemas.openxmlformats.org/officeDocument/2006/relationships/image" Target="../media/image20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7" Type="http://schemas.openxmlformats.org/officeDocument/2006/relationships/image" Target="../media/image24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2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7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30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9.png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– Generic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7D757E2-06F5-4170-D4FE-B14FF88ADE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944" y="3285104"/>
            <a:ext cx="3067960" cy="287791"/>
          </a:xfrm>
        </p:spPr>
        <p:txBody>
          <a:bodyPr anchor="b" anchorCtr="0"/>
          <a:lstStyle>
            <a:lvl1pPr algn="l">
              <a:defRPr sz="2000" b="0" i="0">
                <a:solidFill>
                  <a:srgbClr val="404040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Version / Month / Year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1EFE423-AC3D-E394-8ABB-02DE8346F5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9945" y="5336229"/>
            <a:ext cx="2697525" cy="107901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24EC588-ED4B-072F-438B-0ACFA82A5B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945" y="2330095"/>
            <a:ext cx="8402350" cy="667748"/>
          </a:xfrm>
        </p:spPr>
        <p:txBody>
          <a:bodyPr/>
          <a:lstStyle>
            <a:lvl1pPr algn="l">
              <a:defRPr sz="4000" b="0" i="0">
                <a:solidFill>
                  <a:srgbClr val="404040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11FB84AC-090D-0943-5124-B478CFF1C5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9944" y="483918"/>
            <a:ext cx="2294696" cy="287792"/>
          </a:xfrm>
        </p:spPr>
        <p:txBody>
          <a:bodyPr/>
          <a:lstStyle>
            <a:lvl1pPr algn="l">
              <a:defRPr sz="1000" b="1" i="0">
                <a:solidFill>
                  <a:srgbClr val="404040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BCE514E6-E4C6-1536-71DA-534F2A86D3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6043" b="50220"/>
          <a:stretch/>
        </p:blipFill>
        <p:spPr>
          <a:xfrm>
            <a:off x="6807349" y="1513489"/>
            <a:ext cx="5384652" cy="5344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5906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A01E1F3-4C63-0B3F-2FBF-FC1E296DDC22}"/>
              </a:ext>
            </a:extLst>
          </p:cNvPr>
          <p:cNvSpPr/>
          <p:nvPr userDrawn="1"/>
        </p:nvSpPr>
        <p:spPr>
          <a:xfrm>
            <a:off x="0" y="0"/>
            <a:ext cx="12192000" cy="6864762"/>
          </a:xfrm>
          <a:prstGeom prst="rect">
            <a:avLst/>
          </a:prstGeom>
          <a:solidFill>
            <a:srgbClr val="008634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18BB748-AE96-2870-EDD1-4400FE03E4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9446" y="6212538"/>
            <a:ext cx="1281694" cy="512677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C6B3C1D6-B96A-0174-8FE4-5924D5BD604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8570" y="6210367"/>
            <a:ext cx="274515" cy="515755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4C002425-3325-7363-5680-8ADAB10257E8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539945" y="2330095"/>
            <a:ext cx="4448744" cy="667748"/>
          </a:xfrm>
        </p:spPr>
        <p:txBody>
          <a:bodyPr/>
          <a:lstStyle>
            <a:lvl1pPr algn="l">
              <a:defRPr sz="40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it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4F441A5-1E50-0FC1-1B81-01EF371379C3}"/>
              </a:ext>
            </a:extLst>
          </p:cNvPr>
          <p:cNvCxnSpPr>
            <a:cxnSpLocks/>
          </p:cNvCxnSpPr>
          <p:nvPr userDrawn="1"/>
        </p:nvCxnSpPr>
        <p:spPr>
          <a:xfrm>
            <a:off x="534920" y="6076335"/>
            <a:ext cx="11120311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CD946192-FD48-FFD5-E76B-A0D4D4B8C206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534920" y="3278656"/>
            <a:ext cx="4369977" cy="2265410"/>
          </a:xfrm>
        </p:spPr>
        <p:txBody>
          <a:bodyPr/>
          <a:lstStyle>
            <a:lvl1pPr>
              <a:defRPr sz="20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b="0" i="0">
                <a:solidFill>
                  <a:srgbClr val="00863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2"/>
              </a:buClr>
              <a:defRPr b="0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1496C8C-B9ED-41AD-4083-3505B7771CD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539944" y="483917"/>
            <a:ext cx="5664085" cy="164265"/>
          </a:xfrm>
        </p:spPr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AEFDC751-0256-27A7-8D0F-DEBB3D7C0D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6043" b="50220"/>
          <a:stretch/>
        </p:blipFill>
        <p:spPr>
          <a:xfrm flipV="1">
            <a:off x="8991600" y="-1"/>
            <a:ext cx="3200400" cy="3176541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0B5EBEC-C6ED-0158-33DC-9C31A8B622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57707" y="6288695"/>
            <a:ext cx="59752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AC626F3A-C25F-1443-8C5E-773629F27CB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58102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A01E1F3-4C63-0B3F-2FBF-FC1E296DDC22}"/>
              </a:ext>
            </a:extLst>
          </p:cNvPr>
          <p:cNvSpPr/>
          <p:nvPr userDrawn="1"/>
        </p:nvSpPr>
        <p:spPr>
          <a:xfrm>
            <a:off x="0" y="0"/>
            <a:ext cx="12192000" cy="6864762"/>
          </a:xfrm>
          <a:prstGeom prst="rect">
            <a:avLst/>
          </a:prstGeom>
          <a:solidFill>
            <a:srgbClr val="57D3F8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18BB748-AE96-2870-EDD1-4400FE03E4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9446" y="6212538"/>
            <a:ext cx="1281694" cy="512677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C6B3C1D6-B96A-0174-8FE4-5924D5BD604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8570" y="6210367"/>
            <a:ext cx="274515" cy="515755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4C002425-3325-7363-5680-8ADAB10257E8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539945" y="2330095"/>
            <a:ext cx="4448744" cy="667748"/>
          </a:xfrm>
        </p:spPr>
        <p:txBody>
          <a:bodyPr/>
          <a:lstStyle>
            <a:lvl1pPr algn="l">
              <a:defRPr sz="4000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it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4F441A5-1E50-0FC1-1B81-01EF371379C3}"/>
              </a:ext>
            </a:extLst>
          </p:cNvPr>
          <p:cNvCxnSpPr>
            <a:cxnSpLocks/>
          </p:cNvCxnSpPr>
          <p:nvPr userDrawn="1"/>
        </p:nvCxnSpPr>
        <p:spPr>
          <a:xfrm>
            <a:off x="534920" y="6076335"/>
            <a:ext cx="11120311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CD946192-FD48-FFD5-E76B-A0D4D4B8C206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534920" y="3278656"/>
            <a:ext cx="4369977" cy="2265410"/>
          </a:xfrm>
        </p:spPr>
        <p:txBody>
          <a:bodyPr/>
          <a:lstStyle>
            <a:lvl1pPr>
              <a:defRPr sz="2000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b="0" i="0">
                <a:solidFill>
                  <a:srgbClr val="00863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2"/>
              </a:buClr>
              <a:defRPr b="0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1496C8C-B9ED-41AD-4083-3505B7771CD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539944" y="483917"/>
            <a:ext cx="5664085" cy="164265"/>
          </a:xfrm>
        </p:spPr>
        <p:txBody>
          <a:bodyPr/>
          <a:lstStyle>
            <a:lvl1pPr algn="l">
              <a:defRPr sz="1000" b="1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AEFDC751-0256-27A7-8D0F-DEBB3D7C0D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6043" b="50220"/>
          <a:stretch/>
        </p:blipFill>
        <p:spPr>
          <a:xfrm flipV="1">
            <a:off x="8991600" y="-1"/>
            <a:ext cx="3200400" cy="3176541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0B5EBEC-C6ED-0158-33DC-9C31A8B622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57707" y="6288695"/>
            <a:ext cx="59752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fld id="{AC626F3A-C25F-1443-8C5E-773629F27CB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10840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A01E1F3-4C63-0B3F-2FBF-FC1E296DDC22}"/>
              </a:ext>
            </a:extLst>
          </p:cNvPr>
          <p:cNvSpPr/>
          <p:nvPr userDrawn="1"/>
        </p:nvSpPr>
        <p:spPr>
          <a:xfrm>
            <a:off x="0" y="0"/>
            <a:ext cx="12192000" cy="6864762"/>
          </a:xfrm>
          <a:prstGeom prst="rect">
            <a:avLst/>
          </a:prstGeom>
          <a:solidFill>
            <a:srgbClr val="008634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18BB748-AE96-2870-EDD1-4400FE03E4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9446" y="6212538"/>
            <a:ext cx="1281694" cy="512677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C6B3C1D6-B96A-0174-8FE4-5924D5BD604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8570" y="6210367"/>
            <a:ext cx="274515" cy="515755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4C002425-3325-7363-5680-8ADAB10257E8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539945" y="2330095"/>
            <a:ext cx="4448744" cy="667748"/>
          </a:xfrm>
        </p:spPr>
        <p:txBody>
          <a:bodyPr/>
          <a:lstStyle>
            <a:lvl1pPr algn="l">
              <a:defRPr sz="40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it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4F441A5-1E50-0FC1-1B81-01EF371379C3}"/>
              </a:ext>
            </a:extLst>
          </p:cNvPr>
          <p:cNvCxnSpPr>
            <a:cxnSpLocks/>
          </p:cNvCxnSpPr>
          <p:nvPr userDrawn="1"/>
        </p:nvCxnSpPr>
        <p:spPr>
          <a:xfrm>
            <a:off x="534920" y="6076335"/>
            <a:ext cx="11120311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CD946192-FD48-FFD5-E76B-A0D4D4B8C206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534920" y="3278656"/>
            <a:ext cx="4369977" cy="2265410"/>
          </a:xfrm>
        </p:spPr>
        <p:txBody>
          <a:bodyPr/>
          <a:lstStyle>
            <a:lvl1pPr>
              <a:defRPr sz="20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b="0" i="0">
                <a:solidFill>
                  <a:srgbClr val="00863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2"/>
              </a:buClr>
              <a:defRPr b="0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1496C8C-B9ED-41AD-4083-3505B7771CD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539944" y="483917"/>
            <a:ext cx="5664085" cy="164265"/>
          </a:xfrm>
        </p:spPr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AEFDC751-0256-27A7-8D0F-DEBB3D7C0D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6043" b="50220"/>
          <a:stretch/>
        </p:blipFill>
        <p:spPr>
          <a:xfrm flipV="1">
            <a:off x="8991600" y="-1"/>
            <a:ext cx="3200400" cy="3176541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0B5EBEC-C6ED-0158-33DC-9C31A8B622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57707" y="6288695"/>
            <a:ext cx="59752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AC626F3A-C25F-1443-8C5E-773629F27CB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83842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 – Generic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A615F3D-EAF4-C8AE-0D06-C7A72DA0A79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6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7D757E2-06F5-4170-D4FE-B14FF88ADE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943" y="3908850"/>
            <a:ext cx="2012758" cy="553790"/>
          </a:xfrm>
        </p:spPr>
        <p:txBody>
          <a:bodyPr anchor="t" anchorCtr="0"/>
          <a:lstStyle>
            <a:lvl1pPr algn="l"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GB" dirty="0">
                <a:effectLst/>
                <a:latin typeface="Poppins" pitchFamily="2" charset="77"/>
              </a:rPr>
              <a:t>Call to action:</a:t>
            </a:r>
            <a:br>
              <a:rPr lang="en-GB" dirty="0">
                <a:effectLst/>
                <a:latin typeface="Poppins" pitchFamily="2" charset="77"/>
              </a:rPr>
            </a:br>
            <a:r>
              <a:rPr lang="en-GB" b="1" dirty="0">
                <a:effectLst/>
                <a:latin typeface="Poppins" pitchFamily="2" charset="77"/>
              </a:rPr>
              <a:t>XXXXXXXXXXX</a:t>
            </a:r>
            <a:endParaRPr lang="en-GB" dirty="0">
              <a:effectLst/>
              <a:latin typeface="Poppins" pitchFamily="2" charset="77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2C45BB3-6B5A-A1A5-F47D-91C06DE213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6043" b="50220"/>
          <a:stretch/>
        </p:blipFill>
        <p:spPr>
          <a:xfrm>
            <a:off x="6807348" y="1513489"/>
            <a:ext cx="5384653" cy="5344512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2E99132F-DE6D-F4FC-E94D-30EFA5E8227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1792" y="472129"/>
            <a:ext cx="2704200" cy="1081679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6A946C19-8D3B-7157-84DA-6B139D14211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9943" y="467548"/>
            <a:ext cx="579189" cy="108817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401BEE1-CD99-6D92-77E7-A82BE2C6A31B}"/>
              </a:ext>
            </a:extLst>
          </p:cNvPr>
          <p:cNvSpPr txBox="1"/>
          <p:nvPr userDrawn="1"/>
        </p:nvSpPr>
        <p:spPr>
          <a:xfrm>
            <a:off x="539943" y="4906227"/>
            <a:ext cx="6096000" cy="1454244"/>
          </a:xfrm>
          <a:prstGeom prst="rect">
            <a:avLst/>
          </a:prstGeom>
          <a:noFill/>
        </p:spPr>
        <p:txBody>
          <a:bodyPr wrap="square" lIns="0" tIns="0" bIns="0">
            <a:spAutoFit/>
          </a:bodyPr>
          <a:lstStyle/>
          <a:p>
            <a:r>
              <a:rPr lang="en-GB" sz="1050" b="1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RenewableUK</a:t>
            </a:r>
          </a:p>
          <a:p>
            <a:r>
              <a:rPr lang="en-GB" sz="1050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6 Langley Street</a:t>
            </a:r>
          </a:p>
          <a:p>
            <a:r>
              <a:rPr lang="en-GB" sz="1050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London</a:t>
            </a:r>
          </a:p>
          <a:p>
            <a:r>
              <a:rPr lang="en-GB" sz="1050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WC2H 9JA</a:t>
            </a:r>
          </a:p>
          <a:p>
            <a:r>
              <a:rPr lang="en-GB" sz="1050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United Kingdom</a:t>
            </a:r>
          </a:p>
          <a:p>
            <a:endParaRPr lang="en-GB" sz="1050" dirty="0">
              <a:solidFill>
                <a:schemeClr val="bg1"/>
              </a:solidFill>
              <a:effectLst/>
              <a:latin typeface="Poppins" pitchFamily="2" charset="77"/>
              <a:cs typeface="Poppins" pitchFamily="2" charset="77"/>
            </a:endParaRPr>
          </a:p>
          <a:p>
            <a:r>
              <a:rPr lang="en-GB" sz="1050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Tel: +44 (0)20 7901 3000</a:t>
            </a:r>
          </a:p>
          <a:p>
            <a:r>
              <a:rPr lang="en-GB" sz="1050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Email: </a:t>
            </a:r>
            <a:r>
              <a:rPr lang="en-GB" sz="1050" dirty="0" err="1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info@RenewableUK.com</a:t>
            </a:r>
            <a:endParaRPr lang="en-GB" sz="1050" dirty="0">
              <a:solidFill>
                <a:schemeClr val="bg1"/>
              </a:solidFill>
              <a:effectLst/>
              <a:latin typeface="Poppins" pitchFamily="2" charset="77"/>
              <a:cs typeface="Poppins" pitchFamily="2" charset="77"/>
            </a:endParaRPr>
          </a:p>
          <a:p>
            <a:r>
              <a:rPr lang="en-GB" sz="1050" b="1" dirty="0" err="1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renewableuk.com</a:t>
            </a:r>
            <a:endParaRPr lang="en-GB" sz="1050" dirty="0">
              <a:solidFill>
                <a:schemeClr val="bg1"/>
              </a:solidFill>
              <a:effectLst/>
              <a:latin typeface="Poppins" pitchFamily="2" charset="77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9228975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 – Generic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A615F3D-EAF4-C8AE-0D06-C7A72DA0A79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6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7D757E2-06F5-4170-D4FE-B14FF88ADE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943" y="3908850"/>
            <a:ext cx="2012758" cy="553790"/>
          </a:xfrm>
        </p:spPr>
        <p:txBody>
          <a:bodyPr anchor="t" anchorCtr="0"/>
          <a:lstStyle>
            <a:lvl1pPr algn="l"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GB" dirty="0">
                <a:effectLst/>
                <a:latin typeface="Poppins" pitchFamily="2" charset="77"/>
              </a:rPr>
              <a:t>Call to action:</a:t>
            </a:r>
            <a:br>
              <a:rPr lang="en-GB" dirty="0">
                <a:effectLst/>
                <a:latin typeface="Poppins" pitchFamily="2" charset="77"/>
              </a:rPr>
            </a:br>
            <a:r>
              <a:rPr lang="en-GB" b="1" dirty="0">
                <a:effectLst/>
                <a:latin typeface="Poppins" pitchFamily="2" charset="77"/>
              </a:rPr>
              <a:t>XXXXXXXXXXX</a:t>
            </a:r>
            <a:endParaRPr lang="en-GB" dirty="0">
              <a:effectLst/>
              <a:latin typeface="Poppins" pitchFamily="2" charset="77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2C45BB3-6B5A-A1A5-F47D-91C06DE213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6043" b="50220"/>
          <a:stretch/>
        </p:blipFill>
        <p:spPr>
          <a:xfrm>
            <a:off x="6807348" y="1513489"/>
            <a:ext cx="5384653" cy="5344512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2E99132F-DE6D-F4FC-E94D-30EFA5E8227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1792" y="472129"/>
            <a:ext cx="2704200" cy="1081679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6A946C19-8D3B-7157-84DA-6B139D14211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9943" y="467548"/>
            <a:ext cx="579189" cy="108817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401BEE1-CD99-6D92-77E7-A82BE2C6A31B}"/>
              </a:ext>
            </a:extLst>
          </p:cNvPr>
          <p:cNvSpPr txBox="1"/>
          <p:nvPr userDrawn="1"/>
        </p:nvSpPr>
        <p:spPr>
          <a:xfrm>
            <a:off x="539943" y="4906227"/>
            <a:ext cx="6096000" cy="1454244"/>
          </a:xfrm>
          <a:prstGeom prst="rect">
            <a:avLst/>
          </a:prstGeom>
          <a:noFill/>
        </p:spPr>
        <p:txBody>
          <a:bodyPr wrap="square" lIns="0" tIns="0" bIns="0">
            <a:spAutoFit/>
          </a:bodyPr>
          <a:lstStyle/>
          <a:p>
            <a:r>
              <a:rPr lang="en-GB" sz="1050" b="1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RenewableUK</a:t>
            </a:r>
          </a:p>
          <a:p>
            <a:r>
              <a:rPr lang="en-GB" sz="1050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6 Langley Street</a:t>
            </a:r>
          </a:p>
          <a:p>
            <a:r>
              <a:rPr lang="en-GB" sz="1050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London</a:t>
            </a:r>
          </a:p>
          <a:p>
            <a:r>
              <a:rPr lang="en-GB" sz="1050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WC2H 9JA</a:t>
            </a:r>
          </a:p>
          <a:p>
            <a:r>
              <a:rPr lang="en-GB" sz="1050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United Kingdom</a:t>
            </a:r>
          </a:p>
          <a:p>
            <a:endParaRPr lang="en-GB" sz="1050" dirty="0">
              <a:solidFill>
                <a:schemeClr val="bg1"/>
              </a:solidFill>
              <a:effectLst/>
              <a:latin typeface="Poppins" pitchFamily="2" charset="77"/>
              <a:cs typeface="Poppins" pitchFamily="2" charset="77"/>
            </a:endParaRPr>
          </a:p>
          <a:p>
            <a:r>
              <a:rPr lang="en-GB" sz="1050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Tel: +44 (0)20 7901 3000</a:t>
            </a:r>
          </a:p>
          <a:p>
            <a:r>
              <a:rPr lang="en-GB" sz="1050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Email: </a:t>
            </a:r>
            <a:r>
              <a:rPr lang="en-GB" sz="1050" dirty="0" err="1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info@RenewableUK.com</a:t>
            </a:r>
            <a:endParaRPr lang="en-GB" sz="1050" dirty="0">
              <a:solidFill>
                <a:schemeClr val="bg1"/>
              </a:solidFill>
              <a:effectLst/>
              <a:latin typeface="Poppins" pitchFamily="2" charset="77"/>
              <a:cs typeface="Poppins" pitchFamily="2" charset="77"/>
            </a:endParaRPr>
          </a:p>
          <a:p>
            <a:r>
              <a:rPr lang="en-GB" sz="1050" b="1" dirty="0" err="1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renewableuk.com</a:t>
            </a:r>
            <a:endParaRPr lang="en-GB" sz="1050" dirty="0">
              <a:solidFill>
                <a:schemeClr val="bg1"/>
              </a:solidFill>
              <a:effectLst/>
              <a:latin typeface="Poppins" pitchFamily="2" charset="77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0813545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E7625AB9-CE3B-F84D-84AB-30D31C17E8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7495" y="1820971"/>
            <a:ext cx="5071200" cy="4060027"/>
          </a:xfrm>
        </p:spPr>
        <p:txBody>
          <a:bodyPr numCol="1"/>
          <a:lstStyle>
            <a:lvl1pPr>
              <a:defRPr sz="1400"/>
            </a:lvl1pPr>
            <a:lvl2pPr>
              <a:defRPr sz="1400"/>
            </a:lvl2pPr>
            <a:lvl3pPr marL="144000" indent="-1440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6E7832-B39F-2008-465B-4BFFDE4419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1581" y="6282995"/>
            <a:ext cx="59752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 b="1" i="0">
                <a:solidFill>
                  <a:schemeClr val="tx1"/>
                </a:solidFill>
              </a:defRPr>
            </a:lvl1pPr>
          </a:lstStyle>
          <a:p>
            <a:fld id="{B70591C7-7C5F-344B-A2E0-A5AC5711D48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86E77D59-E072-39AF-4465-5171DC6F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656" y="1143068"/>
            <a:ext cx="5087039" cy="677903"/>
          </a:xfrm>
        </p:spPr>
        <p:txBody>
          <a:bodyPr/>
          <a:lstStyle/>
          <a:p>
            <a:r>
              <a:rPr lang="en-GB" sz="2400" dirty="0"/>
              <a:t>Title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F3B3E733-52FB-6E0E-0304-8F58B93664E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39944" y="483917"/>
            <a:ext cx="5664085" cy="164265"/>
          </a:xfrm>
        </p:spPr>
        <p:txBody>
          <a:bodyPr/>
          <a:lstStyle>
            <a:lvl1pPr algn="l">
              <a:defRPr sz="1000" b="1" i="0">
                <a:solidFill>
                  <a:srgbClr val="404040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35169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and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E7625AB9-CE3B-F84D-84AB-30D31C17E8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7495" y="1820971"/>
            <a:ext cx="5071200" cy="4060027"/>
          </a:xfrm>
        </p:spPr>
        <p:txBody>
          <a:bodyPr numCol="1"/>
          <a:lstStyle>
            <a:lvl1pPr>
              <a:defRPr sz="1400"/>
            </a:lvl1pPr>
            <a:lvl2pPr>
              <a:defRPr sz="1400"/>
            </a:lvl2pPr>
            <a:lvl3pPr marL="144000" indent="-1440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6E7832-B39F-2008-465B-4BFFDE4419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1581" y="6282995"/>
            <a:ext cx="59752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 b="1" i="0">
                <a:solidFill>
                  <a:schemeClr val="tx1"/>
                </a:solidFill>
              </a:defRPr>
            </a:lvl1pPr>
          </a:lstStyle>
          <a:p>
            <a:fld id="{B70591C7-7C5F-344B-A2E0-A5AC5711D48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86E77D59-E072-39AF-4465-5171DC6F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656" y="1143068"/>
            <a:ext cx="5087039" cy="677903"/>
          </a:xfrm>
        </p:spPr>
        <p:txBody>
          <a:bodyPr/>
          <a:lstStyle/>
          <a:p>
            <a:r>
              <a:rPr lang="en-GB" sz="2400" dirty="0"/>
              <a:t>Title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F3B3E733-52FB-6E0E-0304-8F58B93664E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87044" y="6383424"/>
            <a:ext cx="5664085" cy="164265"/>
          </a:xfrm>
        </p:spPr>
        <p:txBody>
          <a:bodyPr/>
          <a:lstStyle>
            <a:lvl1pPr algn="l">
              <a:defRPr sz="1000" b="1" i="0">
                <a:solidFill>
                  <a:srgbClr val="404040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RenewableUK</a:t>
            </a:r>
            <a:r>
              <a:rPr lang="en-GB" dirty="0"/>
              <a:t> – Document title </a:t>
            </a:r>
          </a:p>
        </p:txBody>
      </p:sp>
    </p:spTree>
    <p:extLst>
      <p:ext uri="{BB962C8B-B14F-4D97-AF65-F5344CB8AC3E}">
        <p14:creationId xmlns:p14="http://schemas.microsoft.com/office/powerpoint/2010/main" val="39321027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A36088E2-8F5D-35BA-77C6-C021FE67268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87105" y="624700"/>
            <a:ext cx="5352000" cy="5111999"/>
          </a:xfrm>
          <a:solidFill>
            <a:schemeClr val="bg2"/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E7625AB9-CE3B-F84D-84AB-30D31C17E8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7495" y="1820971"/>
            <a:ext cx="5071200" cy="406002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44000" indent="-1440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B5BDEB18-6369-A627-9D50-1B59EC0709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53272" y="900001"/>
            <a:ext cx="3019966" cy="488052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marL="144000" indent="-144000" algn="r">
              <a:buFont typeface="Arial" panose="020B0604020202020204" pitchFamily="34" charset="0"/>
              <a:buChar char="•"/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6E7832-B39F-2008-465B-4BFFDE4419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1581" y="6282995"/>
            <a:ext cx="59752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 b="1" i="0">
                <a:solidFill>
                  <a:schemeClr val="tx1"/>
                </a:solidFill>
              </a:defRPr>
            </a:lvl1pPr>
          </a:lstStyle>
          <a:p>
            <a:fld id="{B70591C7-7C5F-344B-A2E0-A5AC5711D48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86E77D59-E072-39AF-4465-5171DC6F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656" y="1143068"/>
            <a:ext cx="5087039" cy="677903"/>
          </a:xfrm>
        </p:spPr>
        <p:txBody>
          <a:bodyPr/>
          <a:lstStyle/>
          <a:p>
            <a:r>
              <a:rPr lang="en-GB" sz="2400" dirty="0"/>
              <a:t>Title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9B92CF77-6E7D-3AED-9EE9-6AC17772AA0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39944" y="483917"/>
            <a:ext cx="5664085" cy="164265"/>
          </a:xfrm>
        </p:spPr>
        <p:txBody>
          <a:bodyPr/>
          <a:lstStyle>
            <a:lvl1pPr algn="l">
              <a:defRPr sz="1000" b="1" i="0">
                <a:solidFill>
                  <a:srgbClr val="404040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25869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rt Graphic –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E7625AB9-CE3B-F84D-84AB-30D31C17E8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9500" y="1939699"/>
            <a:ext cx="2777344" cy="4060027"/>
          </a:xfrm>
        </p:spPr>
        <p:txBody>
          <a:bodyPr/>
          <a:lstStyle>
            <a:lvl3pPr marL="144000" indent="-1440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6A90588-8750-9E9C-AC99-7F9DC8C98C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89500" y="1939699"/>
            <a:ext cx="2777344" cy="4060027"/>
          </a:xfrm>
        </p:spPr>
        <p:txBody>
          <a:bodyPr/>
          <a:lstStyle>
            <a:lvl3pPr marL="144000" indent="-1440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DEC018F-B37B-9556-4CA1-C8A9697D7F7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10400" y="-12700"/>
            <a:ext cx="5181600" cy="6096000"/>
          </a:xfrm>
          <a:solidFill>
            <a:schemeClr val="bg2"/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16A1E50-8F59-060F-349F-57292803E6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1581" y="6282995"/>
            <a:ext cx="59752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 b="1" i="0">
                <a:solidFill>
                  <a:schemeClr val="tx1"/>
                </a:solidFill>
              </a:defRPr>
            </a:lvl1pPr>
          </a:lstStyle>
          <a:p>
            <a:fld id="{B70591C7-7C5F-344B-A2E0-A5AC5711D48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308192E4-D451-31A9-F665-57D2445A65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656" y="1143068"/>
            <a:ext cx="5087039" cy="677903"/>
          </a:xfrm>
        </p:spPr>
        <p:txBody>
          <a:bodyPr/>
          <a:lstStyle/>
          <a:p>
            <a:r>
              <a:rPr lang="en-GB" sz="2400" dirty="0"/>
              <a:t>Tit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542D4478-FA32-A094-85F2-FBB47E51758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39944" y="483917"/>
            <a:ext cx="5664085" cy="164265"/>
          </a:xfrm>
        </p:spPr>
        <p:txBody>
          <a:bodyPr/>
          <a:lstStyle>
            <a:lvl1pPr algn="l">
              <a:defRPr sz="1000" b="1" i="0">
                <a:solidFill>
                  <a:srgbClr val="404040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81817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3FEDCBAC-8445-CCC6-AD4A-CAC4540776FB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20725" y="1620000"/>
            <a:ext cx="10750550" cy="3978275"/>
          </a:xfrm>
        </p:spPr>
        <p:txBody>
          <a:bodyPr/>
          <a:lstStyle/>
          <a:p>
            <a:r>
              <a:rPr lang="en-GB"/>
              <a:t>Click icon to add table</a:t>
            </a:r>
            <a:endParaRPr lang="en-GB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2994854-3ED3-9E76-4117-D16B3D7DB3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1581" y="6282995"/>
            <a:ext cx="59752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 b="1" i="0">
                <a:solidFill>
                  <a:schemeClr val="tx1"/>
                </a:solidFill>
              </a:defRPr>
            </a:lvl1pPr>
          </a:lstStyle>
          <a:p>
            <a:fld id="{B70591C7-7C5F-344B-A2E0-A5AC5711D48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A45D72C6-A19D-EA81-1754-664216D9F9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657" y="1143069"/>
            <a:ext cx="4828440" cy="476932"/>
          </a:xfrm>
        </p:spPr>
        <p:txBody>
          <a:bodyPr/>
          <a:lstStyle/>
          <a:p>
            <a:r>
              <a:rPr lang="en-GB" sz="2400" dirty="0"/>
              <a:t>Tit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DA1CAD6-AE3A-89A0-9BE4-4F6BB099A99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39944" y="483917"/>
            <a:ext cx="5664085" cy="164265"/>
          </a:xfrm>
        </p:spPr>
        <p:txBody>
          <a:bodyPr/>
          <a:lstStyle>
            <a:lvl1pPr algn="l">
              <a:defRPr sz="1000" b="1" i="0">
                <a:solidFill>
                  <a:srgbClr val="404040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29400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 – Generic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7D757E2-06F5-4170-D4FE-B14FF88ADE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944" y="3285104"/>
            <a:ext cx="2938752" cy="287791"/>
          </a:xfrm>
        </p:spPr>
        <p:txBody>
          <a:bodyPr anchor="b" anchorCtr="0"/>
          <a:lstStyle>
            <a:lvl1pPr algn="l">
              <a:defRPr sz="20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Version / Month / Yea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24EC588-ED4B-072F-438B-0ACFA82A5B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945" y="2330095"/>
            <a:ext cx="8402350" cy="667748"/>
          </a:xfrm>
        </p:spPr>
        <p:txBody>
          <a:bodyPr/>
          <a:lstStyle>
            <a:lvl1pPr algn="l">
              <a:defRPr sz="40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11FB84AC-090D-0943-5124-B478CFF1C5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9944" y="483917"/>
            <a:ext cx="5664085" cy="164265"/>
          </a:xfrm>
        </p:spPr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72A9C07B-BA13-9F1F-15C0-64D916EE82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6769" y="5336228"/>
            <a:ext cx="2704200" cy="1081679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FE8D69DA-CB4A-72B4-6556-D6FC0245FC4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4920" y="5331647"/>
            <a:ext cx="579189" cy="1088173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C2C45BB3-6B5A-A1A5-F47D-91C06DE213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6043" b="50220"/>
          <a:stretch/>
        </p:blipFill>
        <p:spPr>
          <a:xfrm>
            <a:off x="6807348" y="1513489"/>
            <a:ext cx="5384653" cy="5344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6134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and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E7625AB9-CE3B-F84D-84AB-30D31C17E8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7495" y="1256194"/>
            <a:ext cx="5071200" cy="4060027"/>
          </a:xfrm>
        </p:spPr>
        <p:txBody>
          <a:bodyPr numCol="1"/>
          <a:lstStyle>
            <a:lvl1pPr>
              <a:defRPr sz="1400"/>
            </a:lvl1pPr>
            <a:lvl2pPr>
              <a:defRPr sz="1400"/>
            </a:lvl2pPr>
            <a:lvl3pPr marL="144000" indent="-1440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6E7832-B39F-2008-465B-4BFFDE4419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1581" y="6282995"/>
            <a:ext cx="59752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 b="1" i="0">
                <a:solidFill>
                  <a:schemeClr val="tx1"/>
                </a:solidFill>
              </a:defRPr>
            </a:lvl1pPr>
          </a:lstStyle>
          <a:p>
            <a:fld id="{B70591C7-7C5F-344B-A2E0-A5AC5711D48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86E77D59-E072-39AF-4465-5171DC6F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656" y="578291"/>
            <a:ext cx="5087039" cy="677903"/>
          </a:xfrm>
        </p:spPr>
        <p:txBody>
          <a:bodyPr/>
          <a:lstStyle/>
          <a:p>
            <a:r>
              <a:rPr lang="en-GB" sz="2400" dirty="0"/>
              <a:t>Tit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F870C85A-E8DB-D099-1952-F4A28C1EC3A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27060" y="6374319"/>
            <a:ext cx="3009901" cy="182476"/>
          </a:xfrm>
        </p:spPr>
        <p:txBody>
          <a:bodyPr/>
          <a:lstStyle>
            <a:lvl1pPr algn="l">
              <a:defRPr sz="1000" b="1" i="0">
                <a:solidFill>
                  <a:srgbClr val="404040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 algn="r"/>
            <a:r>
              <a:rPr lang="en-GB" dirty="0"/>
              <a:t>Document title </a:t>
            </a:r>
          </a:p>
        </p:txBody>
      </p:sp>
    </p:spTree>
    <p:extLst>
      <p:ext uri="{BB962C8B-B14F-4D97-AF65-F5344CB8AC3E}">
        <p14:creationId xmlns:p14="http://schemas.microsoft.com/office/powerpoint/2010/main" val="31561424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kumimoji="0"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2">
                    <a:lumMod val="75000"/>
                  </a:schemeClr>
                </a:solidFill>
              </a:defRPr>
            </a:lvl2pPr>
            <a:lvl3pPr>
              <a:defRPr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>
                <a:solidFill>
                  <a:schemeClr val="bg2">
                    <a:lumMod val="75000"/>
                  </a:schemeClr>
                </a:solidFill>
              </a:defRPr>
            </a:lvl4pPr>
            <a:lvl5pPr>
              <a:defRPr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lang="en-US" dirty="0"/>
              <a:t>Click to edit Master text styles</a:t>
            </a:r>
          </a:p>
          <a:p>
            <a:pPr lvl="1" eaLnBrk="1" latinLnBrk="0" hangingPunct="1"/>
            <a:r>
              <a:rPr lang="en-US" dirty="0"/>
              <a:t>Second level</a:t>
            </a:r>
          </a:p>
          <a:p>
            <a:pPr lvl="2" eaLnBrk="1" latinLnBrk="0" hangingPunct="1"/>
            <a:r>
              <a:rPr lang="en-US" dirty="0"/>
              <a:t>Third level</a:t>
            </a:r>
          </a:p>
          <a:p>
            <a:pPr lvl="3" eaLnBrk="1" latinLnBrk="0" hangingPunct="1"/>
            <a:r>
              <a:rPr lang="en-US" dirty="0"/>
              <a:t>Fourth level</a:t>
            </a:r>
          </a:p>
          <a:p>
            <a:pPr lvl="4" eaLnBrk="1" latinLnBrk="0" hangingPunct="1"/>
            <a:r>
              <a:rPr lang="en-US" dirty="0"/>
              <a:t>Fifth level</a:t>
            </a:r>
            <a:endParaRPr kumimoji="0"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59DE6EB8-52AB-45EA-A660-3E1EBFA729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56200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49044E3-5780-4937-FB0E-5100CA23F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15240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9044E3-5780-4937-FB0E-5100CA23F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264160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72A7D1-7B46-FEC1-BF3B-D5C188F061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0591C7-7C5F-344B-A2E0-A5AC5711D48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B45175C9-3A11-3446-3F20-5EA1F8E9754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98695" y="-1"/>
            <a:ext cx="6593304" cy="6081823"/>
          </a:xfrm>
          <a:solidFill>
            <a:schemeClr val="bg2"/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1" name="Textplatzhalter 19">
            <a:extLst>
              <a:ext uri="{FF2B5EF4-FFF2-40B4-BE49-F238E27FC236}">
                <a16:creationId xmlns:a16="http://schemas.microsoft.com/office/drawing/2014/main" id="{AD9B90D1-926D-65A9-A5FA-E29702640B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7495" y="1954220"/>
            <a:ext cx="3676650" cy="242597"/>
          </a:xfrm>
        </p:spPr>
        <p:txBody>
          <a:bodyPr/>
          <a:lstStyle>
            <a:lvl1pPr marL="719138" indent="-719138">
              <a:buClr>
                <a:srgbClr val="404040"/>
              </a:buClr>
              <a:buFont typeface="+mj-lt"/>
              <a:buAutoNum type="arabicPeriod"/>
              <a:defRPr sz="1400" b="1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US" noProof="0" dirty="0"/>
              <a:t>Chapter heading</a:t>
            </a:r>
          </a:p>
        </p:txBody>
      </p:sp>
      <p:sp>
        <p:nvSpPr>
          <p:cNvPr id="32" name="Textplatzhalter 21">
            <a:extLst>
              <a:ext uri="{FF2B5EF4-FFF2-40B4-BE49-F238E27FC236}">
                <a16:creationId xmlns:a16="http://schemas.microsoft.com/office/drawing/2014/main" id="{B96297F7-A663-80A1-0159-7179238764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7495" y="2196818"/>
            <a:ext cx="3676650" cy="242597"/>
          </a:xfrm>
        </p:spPr>
        <p:txBody>
          <a:bodyPr tIns="36000"/>
          <a:lstStyle>
            <a:lvl1pPr marL="719138" indent="0">
              <a:buNone/>
              <a:defRPr sz="1400"/>
            </a:lvl1pPr>
          </a:lstStyle>
          <a:p>
            <a:pPr lvl="0"/>
            <a:r>
              <a:rPr lang="en-US" noProof="0" dirty="0"/>
              <a:t>Lorem </a:t>
            </a:r>
            <a:r>
              <a:rPr lang="en-US" dirty="0"/>
              <a:t>ipsum dolor sit </a:t>
            </a:r>
            <a:r>
              <a:rPr lang="en-US" dirty="0" err="1"/>
              <a:t>amet</a:t>
            </a:r>
            <a:endParaRPr lang="en-US" noProof="0" dirty="0"/>
          </a:p>
        </p:txBody>
      </p:sp>
      <p:sp>
        <p:nvSpPr>
          <p:cNvPr id="33" name="Textplatzhalter 19">
            <a:extLst>
              <a:ext uri="{FF2B5EF4-FFF2-40B4-BE49-F238E27FC236}">
                <a16:creationId xmlns:a16="http://schemas.microsoft.com/office/drawing/2014/main" id="{1AE9CEE9-3AF5-C79D-A526-38C45BB6BA3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7495" y="2709415"/>
            <a:ext cx="3676650" cy="242597"/>
          </a:xfrm>
        </p:spPr>
        <p:txBody>
          <a:bodyPr/>
          <a:lstStyle>
            <a:lvl1pPr marL="719138" indent="-719138">
              <a:buClr>
                <a:srgbClr val="404040"/>
              </a:buClr>
              <a:buFont typeface="+mj-lt"/>
              <a:buAutoNum type="arabicPeriod" startAt="2"/>
              <a:defRPr sz="1400" b="1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US" noProof="0" dirty="0"/>
              <a:t>Chapter heading</a:t>
            </a:r>
          </a:p>
        </p:txBody>
      </p:sp>
      <p:sp>
        <p:nvSpPr>
          <p:cNvPr id="34" name="Textplatzhalter 21">
            <a:extLst>
              <a:ext uri="{FF2B5EF4-FFF2-40B4-BE49-F238E27FC236}">
                <a16:creationId xmlns:a16="http://schemas.microsoft.com/office/drawing/2014/main" id="{2573E40D-4E10-2047-4C95-6CAFE0BE96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7495" y="2952012"/>
            <a:ext cx="3676650" cy="242597"/>
          </a:xfrm>
        </p:spPr>
        <p:txBody>
          <a:bodyPr tIns="36000"/>
          <a:lstStyle>
            <a:lvl1pPr marL="719138" indent="0">
              <a:buNone/>
              <a:defRPr sz="1400"/>
            </a:lvl1pPr>
          </a:lstStyle>
          <a:p>
            <a:pPr lvl="0"/>
            <a:r>
              <a:rPr lang="en-US" noProof="0" dirty="0"/>
              <a:t>Lorem </a:t>
            </a:r>
            <a:r>
              <a:rPr lang="en-US" dirty="0"/>
              <a:t>ipsum dolor sit </a:t>
            </a:r>
            <a:r>
              <a:rPr lang="en-US" dirty="0" err="1"/>
              <a:t>amet</a:t>
            </a:r>
            <a:endParaRPr lang="en-US" noProof="0" dirty="0"/>
          </a:p>
        </p:txBody>
      </p:sp>
      <p:sp>
        <p:nvSpPr>
          <p:cNvPr id="35" name="Textplatzhalter 19">
            <a:extLst>
              <a:ext uri="{FF2B5EF4-FFF2-40B4-BE49-F238E27FC236}">
                <a16:creationId xmlns:a16="http://schemas.microsoft.com/office/drawing/2014/main" id="{E8F6ABFB-6B3D-7227-C7C6-C3BF4057A1B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7495" y="3464609"/>
            <a:ext cx="3676650" cy="242597"/>
          </a:xfrm>
        </p:spPr>
        <p:txBody>
          <a:bodyPr/>
          <a:lstStyle>
            <a:lvl1pPr marL="719138" indent="-719138">
              <a:buClr>
                <a:srgbClr val="404040"/>
              </a:buClr>
              <a:buFont typeface="+mj-lt"/>
              <a:buAutoNum type="arabicPeriod" startAt="3"/>
              <a:defRPr sz="1400" b="1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US" noProof="0" dirty="0"/>
              <a:t>Chapter heading</a:t>
            </a:r>
          </a:p>
        </p:txBody>
      </p:sp>
      <p:sp>
        <p:nvSpPr>
          <p:cNvPr id="36" name="Textplatzhalter 21">
            <a:extLst>
              <a:ext uri="{FF2B5EF4-FFF2-40B4-BE49-F238E27FC236}">
                <a16:creationId xmlns:a16="http://schemas.microsoft.com/office/drawing/2014/main" id="{19F7CC77-68D3-BF4B-7696-807754A291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7495" y="3707206"/>
            <a:ext cx="3676650" cy="242597"/>
          </a:xfrm>
        </p:spPr>
        <p:txBody>
          <a:bodyPr tIns="36000"/>
          <a:lstStyle>
            <a:lvl1pPr marL="719138" indent="0">
              <a:buNone/>
              <a:defRPr sz="1400"/>
            </a:lvl1pPr>
          </a:lstStyle>
          <a:p>
            <a:pPr lvl="0"/>
            <a:r>
              <a:rPr lang="en-US" noProof="0" dirty="0"/>
              <a:t>Lorem </a:t>
            </a:r>
            <a:r>
              <a:rPr lang="en-US" dirty="0"/>
              <a:t>ipsum dolor sit </a:t>
            </a:r>
            <a:r>
              <a:rPr lang="en-US" dirty="0" err="1"/>
              <a:t>amet</a:t>
            </a:r>
            <a:endParaRPr lang="en-US" noProof="0" dirty="0"/>
          </a:p>
        </p:txBody>
      </p:sp>
      <p:sp>
        <p:nvSpPr>
          <p:cNvPr id="37" name="Textplatzhalter 19">
            <a:extLst>
              <a:ext uri="{FF2B5EF4-FFF2-40B4-BE49-F238E27FC236}">
                <a16:creationId xmlns:a16="http://schemas.microsoft.com/office/drawing/2014/main" id="{60B610DC-77FF-7C9F-57AB-093BEF966AE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7495" y="4219803"/>
            <a:ext cx="3676650" cy="242597"/>
          </a:xfrm>
        </p:spPr>
        <p:txBody>
          <a:bodyPr/>
          <a:lstStyle>
            <a:lvl1pPr marL="719138" indent="-719138">
              <a:buClr>
                <a:srgbClr val="404040"/>
              </a:buClr>
              <a:buFont typeface="+mj-lt"/>
              <a:buAutoNum type="arabicPeriod" startAt="4"/>
              <a:defRPr sz="1400" b="1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US" noProof="0" dirty="0"/>
              <a:t>Chapter heading</a:t>
            </a:r>
          </a:p>
        </p:txBody>
      </p:sp>
      <p:sp>
        <p:nvSpPr>
          <p:cNvPr id="38" name="Textplatzhalter 21">
            <a:extLst>
              <a:ext uri="{FF2B5EF4-FFF2-40B4-BE49-F238E27FC236}">
                <a16:creationId xmlns:a16="http://schemas.microsoft.com/office/drawing/2014/main" id="{D7B309F5-FBE1-24A1-E30D-417ADBB43C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7495" y="4462400"/>
            <a:ext cx="3676650" cy="242597"/>
          </a:xfrm>
        </p:spPr>
        <p:txBody>
          <a:bodyPr tIns="36000"/>
          <a:lstStyle>
            <a:lvl1pPr marL="719138" indent="0">
              <a:buNone/>
              <a:defRPr sz="1400"/>
            </a:lvl1pPr>
          </a:lstStyle>
          <a:p>
            <a:pPr lvl="0"/>
            <a:r>
              <a:rPr lang="en-US" noProof="0" dirty="0"/>
              <a:t>Lorem </a:t>
            </a:r>
            <a:r>
              <a:rPr lang="en-US" dirty="0"/>
              <a:t>ipsum dolor sit </a:t>
            </a:r>
            <a:r>
              <a:rPr lang="en-US" dirty="0" err="1"/>
              <a:t>amet</a:t>
            </a:r>
            <a:endParaRPr lang="en-US" noProof="0" dirty="0"/>
          </a:p>
        </p:txBody>
      </p:sp>
      <p:sp>
        <p:nvSpPr>
          <p:cNvPr id="39" name="Textplatzhalter 19">
            <a:extLst>
              <a:ext uri="{FF2B5EF4-FFF2-40B4-BE49-F238E27FC236}">
                <a16:creationId xmlns:a16="http://schemas.microsoft.com/office/drawing/2014/main" id="{7F447078-ED9C-F5C3-C389-E683588CFBD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7495" y="4974997"/>
            <a:ext cx="3676650" cy="242597"/>
          </a:xfrm>
        </p:spPr>
        <p:txBody>
          <a:bodyPr/>
          <a:lstStyle>
            <a:lvl1pPr marL="719138" indent="-719138">
              <a:buClr>
                <a:srgbClr val="404040"/>
              </a:buClr>
              <a:buFont typeface="+mj-lt"/>
              <a:buAutoNum type="arabicPeriod" startAt="5"/>
              <a:defRPr sz="1400" b="1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US" noProof="0" dirty="0"/>
              <a:t>Chapter heading</a:t>
            </a:r>
          </a:p>
        </p:txBody>
      </p:sp>
      <p:sp>
        <p:nvSpPr>
          <p:cNvPr id="40" name="Textplatzhalter 21">
            <a:extLst>
              <a:ext uri="{FF2B5EF4-FFF2-40B4-BE49-F238E27FC236}">
                <a16:creationId xmlns:a16="http://schemas.microsoft.com/office/drawing/2014/main" id="{947CD05B-E3F7-6F3D-D232-CCC83349BD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7495" y="5217594"/>
            <a:ext cx="3676650" cy="242597"/>
          </a:xfrm>
        </p:spPr>
        <p:txBody>
          <a:bodyPr tIns="36000"/>
          <a:lstStyle>
            <a:lvl1pPr marL="719138" indent="0">
              <a:buNone/>
              <a:defRPr sz="1400"/>
            </a:lvl1pPr>
          </a:lstStyle>
          <a:p>
            <a:pPr lvl="0"/>
            <a:r>
              <a:rPr lang="en-US" noProof="0" dirty="0"/>
              <a:t>Lorem </a:t>
            </a:r>
            <a:r>
              <a:rPr lang="en-US" dirty="0"/>
              <a:t>ipsum dolor sit </a:t>
            </a:r>
            <a:r>
              <a:rPr lang="en-US" dirty="0" err="1"/>
              <a:t>amet</a:t>
            </a:r>
            <a:endParaRPr lang="en-US" noProof="0" dirty="0"/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40EE802F-D0D8-E693-F8EB-E573642DF9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656" y="1143068"/>
            <a:ext cx="5087039" cy="720000"/>
          </a:xfrm>
        </p:spPr>
        <p:txBody>
          <a:bodyPr/>
          <a:lstStyle/>
          <a:p>
            <a:r>
              <a:rPr lang="en-GB" sz="2400"/>
              <a:t>Click to edit Master title style</a:t>
            </a:r>
            <a:endParaRPr lang="en-GB" sz="240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F7C0480-424F-6DE1-3B5E-1EB53E6BE79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39944" y="483917"/>
            <a:ext cx="5664085" cy="164265"/>
          </a:xfrm>
        </p:spPr>
        <p:txBody>
          <a:bodyPr/>
          <a:lstStyle>
            <a:lvl1pPr algn="l">
              <a:defRPr sz="1000" b="1" i="0">
                <a:solidFill>
                  <a:srgbClr val="404040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14889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 – Generic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A615F3D-EAF4-C8AE-0D06-C7A72DA0A79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6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2C45BB3-6B5A-A1A5-F47D-91C06DE213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6043" b="50220"/>
          <a:stretch/>
        </p:blipFill>
        <p:spPr>
          <a:xfrm>
            <a:off x="6807348" y="1513489"/>
            <a:ext cx="5384653" cy="5344512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2E99132F-DE6D-F4FC-E94D-30EFA5E8227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6769" y="5336228"/>
            <a:ext cx="2704200" cy="1081679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6A946C19-8D3B-7157-84DA-6B139D14211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4920" y="5331647"/>
            <a:ext cx="579189" cy="1088173"/>
          </a:xfrm>
          <a:prstGeom prst="rect">
            <a:avLst/>
          </a:prstGeom>
        </p:spPr>
      </p:pic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9D85CDF6-9198-2EF1-5CB2-E5739253538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943" y="3285104"/>
            <a:ext cx="3087839" cy="287791"/>
          </a:xfrm>
        </p:spPr>
        <p:txBody>
          <a:bodyPr anchor="b" anchorCtr="0"/>
          <a:lstStyle>
            <a:lvl1pPr algn="l">
              <a:defRPr sz="20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Version / Month / Year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6DA960F9-C905-6D8C-AC50-05F6AA01DD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945" y="2330095"/>
            <a:ext cx="8402350" cy="667748"/>
          </a:xfrm>
        </p:spPr>
        <p:txBody>
          <a:bodyPr/>
          <a:lstStyle>
            <a:lvl1pPr algn="l">
              <a:defRPr sz="40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B0E86D81-F945-A6A4-2787-7C0325F0F8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9944" y="483917"/>
            <a:ext cx="5664085" cy="164265"/>
          </a:xfrm>
        </p:spPr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2171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– Generic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A615F3D-EAF4-C8AE-0D06-C7A72DA0A79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6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2C45BB3-6B5A-A1A5-F47D-91C06DE213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6043" b="50220"/>
          <a:stretch/>
        </p:blipFill>
        <p:spPr>
          <a:xfrm>
            <a:off x="6807348" y="1513489"/>
            <a:ext cx="5384653" cy="5344512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2E99132F-DE6D-F4FC-E94D-30EFA5E8227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6769" y="5336228"/>
            <a:ext cx="2704200" cy="1081679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6A946C19-8D3B-7157-84DA-6B139D14211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4920" y="5331647"/>
            <a:ext cx="579189" cy="1088173"/>
          </a:xfrm>
          <a:prstGeom prst="rect">
            <a:avLst/>
          </a:prstGeom>
        </p:spPr>
      </p:pic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9D85CDF6-9198-2EF1-5CB2-E5739253538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943" y="3285104"/>
            <a:ext cx="2988447" cy="287791"/>
          </a:xfrm>
        </p:spPr>
        <p:txBody>
          <a:bodyPr anchor="b" anchorCtr="0"/>
          <a:lstStyle>
            <a:lvl1pPr algn="l">
              <a:defRPr sz="20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Version / Month / Year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6DA960F9-C905-6D8C-AC50-05F6AA01DD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945" y="2330095"/>
            <a:ext cx="8402350" cy="667748"/>
          </a:xfrm>
        </p:spPr>
        <p:txBody>
          <a:bodyPr/>
          <a:lstStyle>
            <a:lvl1pPr algn="l">
              <a:defRPr sz="40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B0E86D81-F945-A6A4-2787-7C0325F0F8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9944" y="483917"/>
            <a:ext cx="5664085" cy="164265"/>
          </a:xfrm>
        </p:spPr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17742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 – Generic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A615F3D-EAF4-C8AE-0D06-C7A72DA0A79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34C2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2C45BB3-6B5A-A1A5-F47D-91C06DE213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6043" b="50220"/>
          <a:stretch/>
        </p:blipFill>
        <p:spPr>
          <a:xfrm>
            <a:off x="6807348" y="1513489"/>
            <a:ext cx="5384653" cy="5344512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2E99132F-DE6D-F4FC-E94D-30EFA5E8227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6769" y="5336228"/>
            <a:ext cx="2704200" cy="1081679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6A946C19-8D3B-7157-84DA-6B139D14211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4920" y="5331647"/>
            <a:ext cx="579189" cy="1088173"/>
          </a:xfrm>
          <a:prstGeom prst="rect">
            <a:avLst/>
          </a:prstGeom>
        </p:spPr>
      </p:pic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9D85CDF6-9198-2EF1-5CB2-E5739253538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943" y="3285104"/>
            <a:ext cx="2988447" cy="287791"/>
          </a:xfrm>
        </p:spPr>
        <p:txBody>
          <a:bodyPr anchor="b" anchorCtr="0"/>
          <a:lstStyle>
            <a:lvl1pPr algn="l">
              <a:defRPr sz="20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Version / Month / Year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6DA960F9-C905-6D8C-AC50-05F6AA01DD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945" y="2330095"/>
            <a:ext cx="8402350" cy="667748"/>
          </a:xfrm>
        </p:spPr>
        <p:txBody>
          <a:bodyPr/>
          <a:lstStyle>
            <a:lvl1pPr algn="l">
              <a:defRPr sz="40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B0E86D81-F945-A6A4-2787-7C0325F0F8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9944" y="483917"/>
            <a:ext cx="5664085" cy="164265"/>
          </a:xfrm>
        </p:spPr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688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A01E1F3-4C63-0B3F-2FBF-FC1E296DDC22}"/>
              </a:ext>
            </a:extLst>
          </p:cNvPr>
          <p:cNvSpPr/>
          <p:nvPr userDrawn="1"/>
        </p:nvSpPr>
        <p:spPr>
          <a:xfrm>
            <a:off x="0" y="0"/>
            <a:ext cx="12192000" cy="6864762"/>
          </a:xfrm>
          <a:prstGeom prst="rect">
            <a:avLst/>
          </a:prstGeom>
          <a:solidFill>
            <a:srgbClr val="7EBB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18BB748-AE96-2870-EDD1-4400FE03E4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9446" y="6212538"/>
            <a:ext cx="1281694" cy="512677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C6B3C1D6-B96A-0174-8FE4-5924D5BD604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8570" y="6210367"/>
            <a:ext cx="274515" cy="515755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4C002425-3325-7363-5680-8ADAB10257E8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539945" y="2330095"/>
            <a:ext cx="4448744" cy="667748"/>
          </a:xfrm>
        </p:spPr>
        <p:txBody>
          <a:bodyPr/>
          <a:lstStyle>
            <a:lvl1pPr algn="l">
              <a:defRPr sz="4000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it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4F441A5-1E50-0FC1-1B81-01EF371379C3}"/>
              </a:ext>
            </a:extLst>
          </p:cNvPr>
          <p:cNvCxnSpPr>
            <a:cxnSpLocks/>
          </p:cNvCxnSpPr>
          <p:nvPr userDrawn="1"/>
        </p:nvCxnSpPr>
        <p:spPr>
          <a:xfrm>
            <a:off x="534920" y="6076335"/>
            <a:ext cx="11120311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CD946192-FD48-FFD5-E76B-A0D4D4B8C206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534920" y="3278656"/>
            <a:ext cx="4369977" cy="2265410"/>
          </a:xfrm>
        </p:spPr>
        <p:txBody>
          <a:bodyPr/>
          <a:lstStyle>
            <a:lvl1pPr>
              <a:defRPr sz="2000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b="0" i="0">
                <a:solidFill>
                  <a:srgbClr val="00863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2"/>
              </a:buClr>
              <a:defRPr b="0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1496C8C-B9ED-41AD-4083-3505B7771CD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539944" y="483917"/>
            <a:ext cx="5664085" cy="164265"/>
          </a:xfrm>
        </p:spPr>
        <p:txBody>
          <a:bodyPr/>
          <a:lstStyle>
            <a:lvl1pPr algn="l">
              <a:defRPr sz="1000" b="1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AEFDC751-0256-27A7-8D0F-DEBB3D7C0D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6043" b="50220"/>
          <a:stretch/>
        </p:blipFill>
        <p:spPr>
          <a:xfrm flipV="1">
            <a:off x="8991600" y="-1"/>
            <a:ext cx="3200400" cy="3176541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0B5EBEC-C6ED-0158-33DC-9C31A8B622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57707" y="6288695"/>
            <a:ext cx="59752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AC626F3A-C25F-1443-8C5E-773629F27CB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36829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A01E1F3-4C63-0B3F-2FBF-FC1E296DDC22}"/>
              </a:ext>
            </a:extLst>
          </p:cNvPr>
          <p:cNvSpPr/>
          <p:nvPr userDrawn="1"/>
        </p:nvSpPr>
        <p:spPr>
          <a:xfrm>
            <a:off x="0" y="0"/>
            <a:ext cx="12192000" cy="6864762"/>
          </a:xfrm>
          <a:prstGeom prst="rect">
            <a:avLst/>
          </a:prstGeom>
          <a:solidFill>
            <a:srgbClr val="234C2D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18BB748-AE96-2870-EDD1-4400FE03E4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9446" y="6212538"/>
            <a:ext cx="1281694" cy="512677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C6B3C1D6-B96A-0174-8FE4-5924D5BD604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8570" y="6210367"/>
            <a:ext cx="274515" cy="515755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4C002425-3325-7363-5680-8ADAB10257E8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539945" y="2330095"/>
            <a:ext cx="4448744" cy="667748"/>
          </a:xfrm>
        </p:spPr>
        <p:txBody>
          <a:bodyPr/>
          <a:lstStyle>
            <a:lvl1pPr algn="l">
              <a:defRPr sz="40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it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4F441A5-1E50-0FC1-1B81-01EF371379C3}"/>
              </a:ext>
            </a:extLst>
          </p:cNvPr>
          <p:cNvCxnSpPr>
            <a:cxnSpLocks/>
          </p:cNvCxnSpPr>
          <p:nvPr userDrawn="1"/>
        </p:nvCxnSpPr>
        <p:spPr>
          <a:xfrm>
            <a:off x="534920" y="6076335"/>
            <a:ext cx="11120311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CD946192-FD48-FFD5-E76B-A0D4D4B8C206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534920" y="3278656"/>
            <a:ext cx="4369977" cy="2265410"/>
          </a:xfrm>
        </p:spPr>
        <p:txBody>
          <a:bodyPr/>
          <a:lstStyle>
            <a:lvl1pPr>
              <a:defRPr sz="20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b="0" i="0">
                <a:solidFill>
                  <a:srgbClr val="00863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2"/>
              </a:buClr>
              <a:defRPr b="0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1496C8C-B9ED-41AD-4083-3505B7771CD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539944" y="483917"/>
            <a:ext cx="5664085" cy="164265"/>
          </a:xfrm>
        </p:spPr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AEFDC751-0256-27A7-8D0F-DEBB3D7C0D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6043" b="50220"/>
          <a:stretch/>
        </p:blipFill>
        <p:spPr>
          <a:xfrm flipV="1">
            <a:off x="8991600" y="-1"/>
            <a:ext cx="3200400" cy="3176541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0B5EBEC-C6ED-0158-33DC-9C31A8B622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57707" y="6288695"/>
            <a:ext cx="59752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AC626F3A-C25F-1443-8C5E-773629F27CB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2779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09E4B4-C340-F0B4-7240-BC374C1D54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90560885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7772400" imgH="10058400" progId="TCLayout.ActiveDocument.1">
                  <p:embed/>
                </p:oleObj>
              </mc:Choice>
              <mc:Fallback>
                <p:oleObj name="think-cell Slide" r:id="rId2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09E4B4-C340-F0B4-7240-BC374C1D54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920" y="1180067"/>
            <a:ext cx="6375064" cy="4597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920" y="1917392"/>
            <a:ext cx="10751999" cy="41589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  <a:p>
            <a:pPr lvl="5"/>
            <a:r>
              <a:rPr lang="en-GB" noProof="0" dirty="0"/>
              <a:t>Text level 6</a:t>
            </a:r>
          </a:p>
          <a:p>
            <a:pPr lvl="6"/>
            <a:r>
              <a:rPr lang="en-GB" noProof="0" dirty="0"/>
              <a:t>Text level 7</a:t>
            </a:r>
          </a:p>
          <a:p>
            <a:pPr lvl="7"/>
            <a:r>
              <a:rPr lang="en-GB" noProof="0" dirty="0"/>
              <a:t>Text level 8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4EE844-D5D3-7877-CA55-5B4FFB0033FD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34920" y="6216391"/>
            <a:ext cx="1274328" cy="509731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5C02965-D328-FA1F-DD40-57093BDECBEA}"/>
              </a:ext>
            </a:extLst>
          </p:cNvPr>
          <p:cNvCxnSpPr>
            <a:cxnSpLocks/>
          </p:cNvCxnSpPr>
          <p:nvPr userDrawn="1"/>
        </p:nvCxnSpPr>
        <p:spPr>
          <a:xfrm>
            <a:off x="534920" y="6076335"/>
            <a:ext cx="1112031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E2D4C4-638B-5B32-9F58-A27AF447C8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1581" y="6282995"/>
            <a:ext cx="59752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 b="1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B70591C7-7C5F-344B-A2E0-A5AC5711D48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1755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89" r:id="rId2"/>
    <p:sldLayoutId id="2147483908" r:id="rId3"/>
    <p:sldLayoutId id="2147483909" r:id="rId4"/>
    <p:sldLayoutId id="2147483912" r:id="rId5"/>
    <p:sldLayoutId id="2147483873" r:id="rId6"/>
    <p:sldLayoutId id="2147483918" r:id="rId7"/>
    <p:sldLayoutId id="2147483842" r:id="rId8"/>
    <p:sldLayoutId id="2147483919" r:id="rId9"/>
    <p:sldLayoutId id="2147483914" r:id="rId10"/>
    <p:sldLayoutId id="2147483910" r:id="rId11"/>
    <p:sldLayoutId id="2147483915" r:id="rId12"/>
    <p:sldLayoutId id="2147483911" r:id="rId13"/>
    <p:sldLayoutId id="2147483907" r:id="rId14"/>
    <p:sldLayoutId id="2147483745" r:id="rId15"/>
    <p:sldLayoutId id="2147483916" r:id="rId16"/>
    <p:sldLayoutId id="2147483913" r:id="rId17"/>
    <p:sldLayoutId id="2147483847" r:id="rId18"/>
    <p:sldLayoutId id="2147483853" r:id="rId19"/>
    <p:sldLayoutId id="2147483917" r:id="rId20"/>
    <p:sldLayoutId id="2147483920" r:id="rId2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rgbClr val="404040"/>
          </a:solidFill>
          <a:latin typeface="Poppins" pitchFamily="2" charset="77"/>
          <a:ea typeface="+mj-ea"/>
          <a:cs typeface="Poppins" pitchFamily="2" charset="77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Clr>
          <a:srgbClr val="F36C21"/>
        </a:buClr>
        <a:buFont typeface="Arial" panose="020B0604020202020204" pitchFamily="34" charset="0"/>
        <a:buNone/>
        <a:defRPr sz="1600" b="0" i="0" kern="1200">
          <a:solidFill>
            <a:srgbClr val="404040"/>
          </a:solidFill>
          <a:latin typeface="Poppins" pitchFamily="2" charset="77"/>
          <a:ea typeface="+mn-ea"/>
          <a:cs typeface="Poppins" pitchFamily="2" charset="77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600"/>
        </a:spcAft>
        <a:buClr>
          <a:srgbClr val="305A80"/>
        </a:buClr>
        <a:buSzPct val="90000"/>
        <a:buFont typeface="Courier New" panose="02070309020205020404" pitchFamily="49" charset="0"/>
        <a:buNone/>
        <a:defRPr sz="1400" b="0" i="0" kern="1200">
          <a:solidFill>
            <a:srgbClr val="404040"/>
          </a:solidFill>
          <a:latin typeface="Poppins" pitchFamily="2" charset="77"/>
          <a:ea typeface="+mn-ea"/>
          <a:cs typeface="Poppins" pitchFamily="2" charset="77"/>
        </a:defRPr>
      </a:lvl2pPr>
      <a:lvl3pPr marL="144000" indent="-144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rgbClr val="008634"/>
        </a:buClr>
        <a:buFont typeface="Arial" panose="020B0604020202020204" pitchFamily="34" charset="0"/>
        <a:buChar char="•"/>
        <a:defRPr sz="1400" b="0" i="0" kern="1200">
          <a:solidFill>
            <a:srgbClr val="404040"/>
          </a:solidFill>
          <a:latin typeface="Poppins" pitchFamily="2" charset="77"/>
          <a:ea typeface="+mn-ea"/>
          <a:cs typeface="Poppins" pitchFamily="2" charset="77"/>
        </a:defRPr>
      </a:lvl3pPr>
      <a:lvl4pPr marL="171450" indent="-1714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rgbClr val="008634"/>
        </a:buClr>
        <a:buFont typeface="Arial" panose="020B0604020202020204" pitchFamily="34" charset="0"/>
        <a:buChar char="•"/>
        <a:defRPr sz="1200" b="0" i="0" kern="1200">
          <a:solidFill>
            <a:srgbClr val="404040"/>
          </a:solidFill>
          <a:latin typeface="Poppins" pitchFamily="2" charset="77"/>
          <a:ea typeface="+mn-ea"/>
          <a:cs typeface="Poppins" pitchFamily="2" charset="77"/>
        </a:defRPr>
      </a:lvl4pPr>
      <a:lvl5pPr marL="342900" indent="-342900" algn="l" defTabSz="914400" rtl="0" eaLnBrk="1" latinLnBrk="0" hangingPunct="1">
        <a:lnSpc>
          <a:spcPct val="110000"/>
        </a:lnSpc>
        <a:spcBef>
          <a:spcPts val="600"/>
        </a:spcBef>
        <a:spcAft>
          <a:spcPts val="1200"/>
        </a:spcAft>
        <a:buClr>
          <a:srgbClr val="008634"/>
        </a:buClr>
        <a:buFont typeface="Arial" panose="020B0604020202020204" pitchFamily="34" charset="0"/>
        <a:buChar char="•"/>
        <a:defRPr sz="2200" b="0" i="0" kern="1200">
          <a:solidFill>
            <a:srgbClr val="404040"/>
          </a:solidFill>
          <a:latin typeface="Poppins" pitchFamily="2" charset="77"/>
          <a:ea typeface="+mn-ea"/>
          <a:cs typeface="Poppins" pitchFamily="2" charset="77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4200" b="0" i="0" kern="1200">
          <a:solidFill>
            <a:srgbClr val="404040"/>
          </a:solidFill>
          <a:latin typeface="Poppins" pitchFamily="2" charset="77"/>
          <a:ea typeface="+mn-ea"/>
          <a:cs typeface="Poppins" pitchFamily="2" charset="77"/>
        </a:defRPr>
      </a:lvl6pPr>
      <a:lvl7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b="0" i="0" kern="1200">
          <a:solidFill>
            <a:srgbClr val="404040"/>
          </a:solidFill>
          <a:latin typeface="Poppins" pitchFamily="2" charset="77"/>
          <a:ea typeface="+mn-ea"/>
          <a:cs typeface="Poppins" pitchFamily="2" charset="77"/>
        </a:defRPr>
      </a:lvl7pPr>
      <a:lvl8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1200"/>
        </a:spcAft>
        <a:buFont typeface="Arial" panose="020B0604020202020204" pitchFamily="34" charset="0"/>
        <a:buNone/>
        <a:defRPr sz="2200" b="0" i="0" kern="1200">
          <a:solidFill>
            <a:srgbClr val="008634"/>
          </a:solidFill>
          <a:latin typeface="Poppins" pitchFamily="2" charset="77"/>
          <a:ea typeface="+mn-ea"/>
          <a:cs typeface="Poppins" pitchFamily="2" charset="77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renewableuk.com/page/PIHome" TargetMode="External"/><Relationship Id="rId5" Type="http://schemas.openxmlformats.org/officeDocument/2006/relationships/hyperlink" Target="https://mapper.mpa.jncc.gov.uk/" TargetMode="External"/><Relationship Id="rId4" Type="http://schemas.openxmlformats.org/officeDocument/2006/relationships/image" Target="../media/image4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.xml"/><Relationship Id="rId6" Type="http://schemas.openxmlformats.org/officeDocument/2006/relationships/image" Target="../media/image42.pn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5.xml"/><Relationship Id="rId6" Type="http://schemas.openxmlformats.org/officeDocument/2006/relationships/image" Target="../media/image44.pn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4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.xml"/><Relationship Id="rId5" Type="http://schemas.openxmlformats.org/officeDocument/2006/relationships/image" Target="../media/image48.png"/><Relationship Id="rId4" Type="http://schemas.openxmlformats.org/officeDocument/2006/relationships/image" Target="../media/image4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7.xml"/><Relationship Id="rId5" Type="http://schemas.openxmlformats.org/officeDocument/2006/relationships/image" Target="../media/image4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8.xml"/><Relationship Id="rId6" Type="http://schemas.openxmlformats.org/officeDocument/2006/relationships/image" Target="../media/image49.jpe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mailto:Kat.route-stephens@renewableuk.com" TargetMode="External"/><Relationship Id="rId3" Type="http://schemas.openxmlformats.org/officeDocument/2006/relationships/image" Target="../media/image50.jpg"/><Relationship Id="rId7" Type="http://schemas.openxmlformats.org/officeDocument/2006/relationships/image" Target="../media/image9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CAB528E-A240-8A6A-6830-E1186A4045F1}"/>
              </a:ext>
            </a:extLst>
          </p:cNvPr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539944" y="2330095"/>
            <a:ext cx="9271567" cy="667748"/>
          </a:xfrm>
        </p:spPr>
        <p:txBody>
          <a:bodyPr/>
          <a:lstStyle>
            <a:lvl1pPr algn="l">
              <a:defRPr sz="4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Offshore Wind Consenting journey: An industry view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2C5B052-7111-2AA4-98E6-A2D0CAD15216}"/>
              </a:ext>
            </a:extLst>
          </p:cNvPr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539944" y="483917"/>
            <a:ext cx="8462166" cy="209766"/>
          </a:xfrm>
        </p:spPr>
        <p:txBody>
          <a:bodyPr/>
          <a:lstStyle>
            <a:lvl1pPr algn="l">
              <a:defRPr sz="10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Renewable Grid Initiative &amp; OCEAN webinar: Lessons from the UK – Accelerating Offshore Wind &amp; Nature Protection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B65F5776-7DC8-384E-E75E-E7335EE21F52}"/>
              </a:ext>
            </a:extLst>
          </p:cNvPr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539944" y="4823230"/>
            <a:ext cx="6435504" cy="287791"/>
          </a:xfrm>
        </p:spPr>
        <p:txBody>
          <a:bodyPr anchor="b" anchorCtr="0"/>
          <a:lstStyle>
            <a:lvl1pPr algn="l"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GB" sz="2000" dirty="0">
              <a:solidFill>
                <a:schemeClr val="bg1"/>
              </a:solidFill>
              <a:latin typeface="Poppins" pitchFamily="2" charset="77"/>
              <a:cs typeface="Poppins" pitchFamily="2" charset="77"/>
            </a:endParaRPr>
          </a:p>
          <a:p>
            <a:pPr lvl="0"/>
            <a:r>
              <a:rPr lang="en-GB" sz="20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Version 1.0</a:t>
            </a:r>
            <a:br>
              <a:rPr lang="en-GB" sz="20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</a:br>
            <a:r>
              <a:rPr lang="en-GB" sz="20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12 November 2025</a:t>
            </a:r>
          </a:p>
        </p:txBody>
      </p:sp>
    </p:spTree>
    <p:extLst>
      <p:ext uri="{BB962C8B-B14F-4D97-AF65-F5344CB8AC3E}">
        <p14:creationId xmlns:p14="http://schemas.microsoft.com/office/powerpoint/2010/main" val="25270698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915A17F-F9E5-0E8B-36FF-C31EC009D50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1373"/>
          <a:stretch>
            <a:fillRect/>
          </a:stretch>
        </p:blipFill>
        <p:spPr>
          <a:xfrm>
            <a:off x="2811615" y="105389"/>
            <a:ext cx="4183876" cy="584686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D43BB86-CE87-AFD5-6679-FA1530262E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98057" y="105389"/>
            <a:ext cx="4364656" cy="5846861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F452276-9A3A-088E-3EC8-7278BAA53812}"/>
              </a:ext>
            </a:extLst>
          </p:cNvPr>
          <p:cNvSpPr txBox="1">
            <a:spLocks/>
          </p:cNvSpPr>
          <p:nvPr/>
        </p:nvSpPr>
        <p:spPr>
          <a:xfrm>
            <a:off x="6995491" y="6280018"/>
            <a:ext cx="4182155" cy="472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400" kern="1200" baseline="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 baseline="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 baseline="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 baseline="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 baseline="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tabLst>
                <a:tab pos="1436688" algn="l"/>
              </a:tabLst>
            </a:pPr>
            <a:r>
              <a:rPr lang="en-GB" sz="1100" dirty="0">
                <a:solidFill>
                  <a:srgbClr val="ACCBF9">
                    <a:lumMod val="10000"/>
                  </a:srgb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UK National Sites Network (JNCC Marine Mapper) </a:t>
            </a:r>
            <a:r>
              <a:rPr lang="en-GB" sz="1100" dirty="0">
                <a:solidFill>
                  <a:srgbClr val="ACCBF9">
                    <a:lumMod val="10000"/>
                  </a:srgbClr>
                </a:solidFill>
                <a:latin typeface="Poppins" panose="00000500000000000000" pitchFamily="2" charset="0"/>
                <a:cs typeface="Poppins" panose="00000500000000000000" pitchFamily="2" charset="0"/>
                <a:hlinkClick r:id="rId5"/>
              </a:rPr>
              <a:t>JNCC Web Mapper</a:t>
            </a:r>
            <a:endParaRPr lang="en-GB" sz="1100" dirty="0">
              <a:solidFill>
                <a:srgbClr val="ACCBF9">
                  <a:lumMod val="10000"/>
                </a:srgbClr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en-GB" dirty="0">
              <a:solidFill>
                <a:srgbClr val="ACCBF9">
                  <a:lumMod val="10000"/>
                </a:srgbClr>
              </a:solidFill>
              <a:latin typeface="Calibri Light"/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8EC815F4-2DD7-D0F7-0EA0-0D35484AC305}"/>
              </a:ext>
            </a:extLst>
          </p:cNvPr>
          <p:cNvSpPr txBox="1">
            <a:spLocks/>
          </p:cNvSpPr>
          <p:nvPr/>
        </p:nvSpPr>
        <p:spPr>
          <a:xfrm>
            <a:off x="96981" y="1001179"/>
            <a:ext cx="2799103" cy="72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404040"/>
                </a:solidFill>
                <a:latin typeface="Poppins" pitchFamily="2" charset="77"/>
                <a:ea typeface="+mj-ea"/>
                <a:cs typeface="Poppins" pitchFamily="2" charset="77"/>
              </a:defRPr>
            </a:lvl1pPr>
          </a:lstStyle>
          <a:p>
            <a:r>
              <a:rPr lang="en-GB" dirty="0"/>
              <a:t>Offshore Wind &amp; protected si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2E72FBD-9224-11DD-1256-A0F3D89E342F}"/>
              </a:ext>
            </a:extLst>
          </p:cNvPr>
          <p:cNvSpPr txBox="1"/>
          <p:nvPr/>
        </p:nvSpPr>
        <p:spPr>
          <a:xfrm>
            <a:off x="2701416" y="6159105"/>
            <a:ext cx="40479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latin typeface="Poppins" panose="00000500000000000000" pitchFamily="2" charset="0"/>
                <a:cs typeface="Poppins" panose="00000500000000000000" pitchFamily="2" charset="0"/>
              </a:rPr>
              <a:t>RenewableUK </a:t>
            </a:r>
            <a:r>
              <a:rPr lang="en-GB" sz="1400" dirty="0">
                <a:latin typeface="Poppins" panose="00000500000000000000" pitchFamily="2" charset="0"/>
                <a:cs typeface="Poppins" panose="00000500000000000000" pitchFamily="2" charset="0"/>
                <a:hlinkClick r:id="rId6"/>
              </a:rPr>
              <a:t>EnergyPulse</a:t>
            </a:r>
            <a:r>
              <a:rPr lang="en-GB" sz="1400" dirty="0">
                <a:latin typeface="Poppins" panose="00000500000000000000" pitchFamily="2" charset="0"/>
                <a:cs typeface="Poppins" panose="00000500000000000000" pitchFamily="2" charset="0"/>
              </a:rPr>
              <a:t> data – Nov 2025</a:t>
            </a:r>
          </a:p>
        </p:txBody>
      </p:sp>
    </p:spTree>
    <p:extLst>
      <p:ext uri="{BB962C8B-B14F-4D97-AF65-F5344CB8AC3E}">
        <p14:creationId xmlns:p14="http://schemas.microsoft.com/office/powerpoint/2010/main" val="36117426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404915-9CC1-066E-3C64-BCB854E860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136726C-DF5F-8C42-3386-F99A2E53D5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2814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6" imgH="426" progId="TCLayout.ActiveDocument.1">
                  <p:embed/>
                </p:oleObj>
              </mc:Choice>
              <mc:Fallback>
                <p:oleObj name="think-cell Slide" r:id="rId4" imgW="426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36726C-DF5F-8C42-3386-F99A2E53D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CF17ACC-182A-31D3-28B5-6209A146986F}"/>
              </a:ext>
            </a:extLst>
          </p:cNvPr>
          <p:cNvSpPr txBox="1">
            <a:spLocks/>
          </p:cNvSpPr>
          <p:nvPr/>
        </p:nvSpPr>
        <p:spPr>
          <a:xfrm>
            <a:off x="650839" y="2163399"/>
            <a:ext cx="5261230" cy="25312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F36C21"/>
              </a:buClr>
              <a:buFont typeface="Arial" panose="020B0604020202020204" pitchFamily="34" charset="0"/>
              <a:buNone/>
              <a:defRPr sz="16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305A80"/>
              </a:buClr>
              <a:buSzPct val="90000"/>
              <a:buFont typeface="Courier New" panose="02070309020205020404" pitchFamily="49" charset="0"/>
              <a:buNone/>
              <a:defRPr sz="16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44000" indent="-144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8634"/>
              </a:buClr>
              <a:buFont typeface="Wingdings" pitchFamily="2" charset="2"/>
              <a:buChar char="§"/>
              <a:defRPr sz="14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sz="22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2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sz="2200" b="0" i="0" kern="1200">
                <a:solidFill>
                  <a:srgbClr val="00863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Font typeface="Arial" panose="020B0604020202020204" pitchFamily="34" charset="0"/>
              <a:buChar char="•"/>
            </a:pPr>
            <a:r>
              <a:rPr lang="en-GB" dirty="0">
                <a:latin typeface="Poppins" pitchFamily="2" charset="77"/>
                <a:cs typeface="Poppins" pitchFamily="2" charset="77"/>
              </a:rPr>
              <a:t>The UK’s leading not for profit renewable energy trade association.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dirty="0">
                <a:latin typeface="Poppins" pitchFamily="2" charset="77"/>
                <a:cs typeface="Poppins" pitchFamily="2" charset="77"/>
              </a:rPr>
              <a:t>RUK’s members are building the UK’s future energy system powered by clean electricity, with the aim of delivering that future faster, a future that is better for industry, billpayers, and the environment.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dirty="0">
                <a:latin typeface="Poppins" pitchFamily="2" charset="77"/>
                <a:cs typeface="Poppins" pitchFamily="2" charset="77"/>
              </a:rPr>
              <a:t>RUK supports over 400 member companies to ensure increasing amounts of renewable electricity are deployed across the UK and to access export markets all over the world.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dirty="0">
                <a:latin typeface="Poppins" pitchFamily="2" charset="77"/>
                <a:cs typeface="Poppins" pitchFamily="2" charset="77"/>
              </a:rPr>
              <a:t>RUK’s members are business leaders, technology innovators, and expert thinkers from across the indust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10C126-5928-1BA0-ADF3-E7F1DBF6C6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70591C7-7C5F-344B-A2E0-A5AC5711D484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7031CBB-0D8E-FB89-4504-B27361D2C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839" y="480916"/>
            <a:ext cx="5087039" cy="677903"/>
          </a:xfrm>
        </p:spPr>
        <p:txBody>
          <a:bodyPr vert="horz"/>
          <a:lstStyle/>
          <a:p>
            <a:r>
              <a:rPr lang="en-GB" dirty="0"/>
              <a:t>Who we a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8776F0F-DCB1-B260-3838-ADCFDC6E86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91162" y="1134261"/>
            <a:ext cx="2575368" cy="102913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F76C789-EC75-668C-E7C0-7A2A167FD8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66273" y="1134261"/>
            <a:ext cx="3019847" cy="905002"/>
          </a:xfrm>
          <a:prstGeom prst="rect">
            <a:avLst/>
          </a:prstGeom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510870B-6F28-F83F-1E6F-A75AD35611B1}"/>
              </a:ext>
            </a:extLst>
          </p:cNvPr>
          <p:cNvSpPr txBox="1">
            <a:spLocks/>
          </p:cNvSpPr>
          <p:nvPr/>
        </p:nvSpPr>
        <p:spPr>
          <a:xfrm>
            <a:off x="6593307" y="2163398"/>
            <a:ext cx="5045798" cy="25312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F36C21"/>
              </a:buClr>
              <a:buFont typeface="Arial" panose="020B0604020202020204" pitchFamily="34" charset="0"/>
              <a:buNone/>
              <a:defRPr sz="16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305A80"/>
              </a:buClr>
              <a:buSzPct val="90000"/>
              <a:buFont typeface="Courier New" panose="02070309020205020404" pitchFamily="49" charset="0"/>
              <a:buNone/>
              <a:defRPr sz="16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44000" indent="-144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8634"/>
              </a:buClr>
              <a:buFont typeface="Wingdings" pitchFamily="2" charset="2"/>
              <a:buChar char="§"/>
              <a:defRPr sz="14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sz="22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2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sz="2200" b="0" i="0" kern="1200">
                <a:solidFill>
                  <a:srgbClr val="00863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Font typeface="Arial" panose="020B0604020202020204" pitchFamily="34" charset="0"/>
              <a:buChar char="•"/>
            </a:pPr>
            <a:r>
              <a:rPr lang="en-GB" dirty="0">
                <a:latin typeface="Poppins" pitchFamily="2" charset="77"/>
                <a:cs typeface="Poppins" pitchFamily="2" charset="77"/>
              </a:rPr>
              <a:t>Offshore Wind Industry Council– senior level government and industry partnership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dirty="0">
                <a:latin typeface="Poppins" pitchFamily="2" charset="77"/>
                <a:cs typeface="Poppins" pitchFamily="2" charset="77"/>
              </a:rPr>
              <a:t>Actively drives progress towards offshore wind delivery, supported by an industry-funded work programme and dedicated team within RenewableUK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dirty="0">
                <a:latin typeface="Poppins" pitchFamily="2" charset="77"/>
                <a:cs typeface="Poppins" pitchFamily="2" charset="77"/>
              </a:rPr>
              <a:t>An ambitious, long-term strategy, in which  offshore wind will become the backbone of the UK’s power system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dirty="0">
                <a:latin typeface="Poppins" pitchFamily="2" charset="77"/>
                <a:cs typeface="Poppins" pitchFamily="2" charset="77"/>
              </a:rPr>
              <a:t>Co-chaired by a Department for Energy Security and Net Zero minister and industry leader.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dirty="0">
                <a:latin typeface="Poppins" pitchFamily="2" charset="77"/>
                <a:cs typeface="Poppins" pitchFamily="2" charset="77"/>
              </a:rPr>
              <a:t>Consenting &amp; Environment workstream</a:t>
            </a:r>
          </a:p>
        </p:txBody>
      </p:sp>
    </p:spTree>
    <p:extLst>
      <p:ext uri="{BB962C8B-B14F-4D97-AF65-F5344CB8AC3E}">
        <p14:creationId xmlns:p14="http://schemas.microsoft.com/office/powerpoint/2010/main" val="29578125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2F53960-AD56-DCE1-6F8B-E109845D28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7078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6" imgH="426" progId="TCLayout.ActiveDocument.1">
                  <p:embed/>
                </p:oleObj>
              </mc:Choice>
              <mc:Fallback>
                <p:oleObj name="think-cell Slide" r:id="rId4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F53960-AD56-DCE1-6F8B-E109845D2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239EA2DC-8B9F-45AC-8DA4-E9FF63C2996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72068" y="392234"/>
            <a:ext cx="4285012" cy="13680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5784F29-BAB4-44AE-B3AE-996D674D1A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163" y="449390"/>
            <a:ext cx="6375064" cy="459795"/>
          </a:xfrm>
        </p:spPr>
        <p:txBody>
          <a:bodyPr vert="horz">
            <a:normAutofit/>
          </a:bodyPr>
          <a:lstStyle/>
          <a:p>
            <a:r>
              <a:rPr lang="en-GB" dirty="0">
                <a:solidFill>
                  <a:srgbClr val="404040"/>
                </a:solidFill>
              </a:rPr>
              <a:t>Offshore Wind Planning in the UK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F611DC1-9371-4EC3-A0A8-EBBF83FC44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0635" y="970131"/>
            <a:ext cx="7789087" cy="4623792"/>
          </a:xfrm>
        </p:spPr>
        <p:txBody>
          <a:bodyPr>
            <a:normAutofit lnSpcReduction="10000"/>
          </a:bodyPr>
          <a:lstStyle/>
          <a:p>
            <a:pPr lvl="1">
              <a:lnSpc>
                <a:spcPct val="130000"/>
              </a:lnSpc>
              <a:defRPr/>
            </a:pPr>
            <a:r>
              <a:rPr lang="en-GB" sz="1600" b="1" dirty="0">
                <a:solidFill>
                  <a:srgbClr val="008634"/>
                </a:solidFill>
              </a:rPr>
              <a:t>Overarching </a:t>
            </a:r>
          </a:p>
          <a:p>
            <a:pPr lvl="2"/>
            <a:r>
              <a:rPr lang="en-GB" dirty="0">
                <a:solidFill>
                  <a:schemeClr val="tx1"/>
                </a:solidFill>
              </a:rPr>
              <a:t>Offshore Energy Strategic Environmental Assessments (OESEA)</a:t>
            </a:r>
          </a:p>
          <a:p>
            <a:pPr lvl="1">
              <a:defRPr/>
            </a:pPr>
            <a:r>
              <a:rPr lang="en-GB" sz="1600" b="1" dirty="0">
                <a:solidFill>
                  <a:srgbClr val="008634"/>
                </a:solidFill>
              </a:rPr>
              <a:t>National &amp; Regional Marine Plans </a:t>
            </a:r>
          </a:p>
          <a:p>
            <a:pPr lvl="2"/>
            <a:r>
              <a:rPr lang="en-GB" b="1" i="0" dirty="0">
                <a:solidFill>
                  <a:schemeClr val="tx1"/>
                </a:solidFill>
              </a:rPr>
              <a:t>England: </a:t>
            </a:r>
            <a:r>
              <a:rPr lang="en-GB" i="0" dirty="0">
                <a:solidFill>
                  <a:schemeClr val="tx1"/>
                </a:solidFill>
              </a:rPr>
              <a:t>Regional Marine Plans</a:t>
            </a:r>
          </a:p>
          <a:p>
            <a:pPr lvl="2"/>
            <a:r>
              <a:rPr lang="en-GB" b="1" i="0" dirty="0">
                <a:solidFill>
                  <a:schemeClr val="tx1"/>
                </a:solidFill>
              </a:rPr>
              <a:t>Wales: </a:t>
            </a:r>
            <a:r>
              <a:rPr lang="en-GB" i="0" dirty="0">
                <a:solidFill>
                  <a:schemeClr val="tx1"/>
                </a:solidFill>
              </a:rPr>
              <a:t>Welsh National Marine Plan</a:t>
            </a:r>
          </a:p>
          <a:p>
            <a:pPr lvl="2"/>
            <a:r>
              <a:rPr lang="en-GB" b="1" i="0" dirty="0">
                <a:solidFill>
                  <a:schemeClr val="tx1"/>
                </a:solidFill>
              </a:rPr>
              <a:t>Scotland:</a:t>
            </a:r>
            <a:r>
              <a:rPr lang="en-GB" i="0" dirty="0">
                <a:solidFill>
                  <a:schemeClr val="tx1"/>
                </a:solidFill>
              </a:rPr>
              <a:t> National Marine Plan, with Sectoral Marine Plan for Offshore Wind</a:t>
            </a:r>
            <a:endParaRPr lang="en-GB" b="1" i="0" dirty="0">
              <a:solidFill>
                <a:schemeClr val="tx1"/>
              </a:solidFill>
            </a:endParaRPr>
          </a:p>
          <a:p>
            <a:pPr lvl="1">
              <a:defRPr/>
            </a:pPr>
            <a:r>
              <a:rPr lang="en-GB" sz="1600" b="1" dirty="0">
                <a:solidFill>
                  <a:srgbClr val="008634"/>
                </a:solidFill>
              </a:rPr>
              <a:t>Seabed Lease </a:t>
            </a:r>
          </a:p>
          <a:p>
            <a:pPr lvl="2"/>
            <a:r>
              <a:rPr lang="en-GB" i="0" dirty="0">
                <a:solidFill>
                  <a:schemeClr val="tx1"/>
                </a:solidFill>
              </a:rPr>
              <a:t>Granted by The Crown Estate and Crown Estate Scotland through a leasing round process, plan lead approach </a:t>
            </a:r>
          </a:p>
          <a:p>
            <a:pPr lvl="2"/>
            <a:r>
              <a:rPr lang="en-GB" i="0" dirty="0">
                <a:solidFill>
                  <a:schemeClr val="tx1"/>
                </a:solidFill>
              </a:rPr>
              <a:t>Several rounds in UK from 2000 </a:t>
            </a:r>
          </a:p>
          <a:p>
            <a:pPr lvl="1">
              <a:defRPr/>
            </a:pPr>
            <a:r>
              <a:rPr lang="en-GB" sz="1600" b="1" dirty="0">
                <a:solidFill>
                  <a:srgbClr val="008634"/>
                </a:solidFill>
              </a:rPr>
              <a:t>Project Level Consenting </a:t>
            </a:r>
          </a:p>
          <a:p>
            <a:pPr lvl="2"/>
            <a:r>
              <a:rPr lang="en-GB" dirty="0">
                <a:solidFill>
                  <a:schemeClr val="tx1"/>
                </a:solidFill>
              </a:rPr>
              <a:t>Environmental assessments and project level consenting </a:t>
            </a:r>
          </a:p>
          <a:p>
            <a:pPr lvl="2"/>
            <a:r>
              <a:rPr lang="en-GB" dirty="0">
                <a:solidFill>
                  <a:schemeClr val="tx1"/>
                </a:solidFill>
              </a:rPr>
              <a:t>Development Consent Orders, Marine Licences, Section 36 generating consents</a:t>
            </a:r>
          </a:p>
          <a:p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AC9CDBA-7860-4DF6-AB02-2B5533C665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95716" y="1402289"/>
            <a:ext cx="2052255" cy="288072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B1BD12-64E2-4C4F-BDB7-B5DA4D8097A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67425" y="2053713"/>
            <a:ext cx="1970201" cy="275057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EED459E-09DF-6873-81B9-D3E035EB2EA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28079"/>
          <a:stretch/>
        </p:blipFill>
        <p:spPr>
          <a:xfrm>
            <a:off x="9030345" y="3863445"/>
            <a:ext cx="2022180" cy="207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6378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F5319D-2747-B6AC-330B-43208BBEFC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C6C9D8D-CECC-CD1B-93FF-2E14215E04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8467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6" progId="TCLayout.ActiveDocument.1">
                  <p:embed/>
                </p:oleObj>
              </mc:Choice>
              <mc:Fallback>
                <p:oleObj name="think-cell Slide" r:id="rId3" imgW="426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6C9D8D-CECC-CD1B-93FF-2E14215E0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460569F-2F8A-BE62-3F34-96F40AFD6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656" y="575400"/>
            <a:ext cx="10335020" cy="486918"/>
          </a:xfrm>
        </p:spPr>
        <p:txBody>
          <a:bodyPr vert="horz"/>
          <a:lstStyle/>
          <a:p>
            <a:r>
              <a:rPr lang="en-US" dirty="0"/>
              <a:t>Consenting processes &amp; Environmental Assessment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F455907-8CDC-BED9-3439-39B8F835F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70591C7-7C5F-344B-A2E0-A5AC5711D484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86D4DEA-D446-930C-BE2D-6439E8966EF2}"/>
              </a:ext>
            </a:extLst>
          </p:cNvPr>
          <p:cNvSpPr txBox="1">
            <a:spLocks/>
          </p:cNvSpPr>
          <p:nvPr/>
        </p:nvSpPr>
        <p:spPr>
          <a:xfrm>
            <a:off x="417935" y="1344679"/>
            <a:ext cx="7638243" cy="25312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F36C21"/>
              </a:buClr>
              <a:buFont typeface="Arial" panose="020B0604020202020204" pitchFamily="34" charset="0"/>
              <a:buNone/>
              <a:defRPr sz="16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305A80"/>
              </a:buClr>
              <a:buSzPct val="90000"/>
              <a:buFont typeface="Courier New" panose="02070309020205020404" pitchFamily="49" charset="0"/>
              <a:buNone/>
              <a:defRPr sz="16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44000" indent="-144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8634"/>
              </a:buClr>
              <a:buFont typeface="Wingdings" pitchFamily="2" charset="2"/>
              <a:buChar char="§"/>
              <a:defRPr sz="14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sz="22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2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sz="2200" b="0" i="0" kern="1200">
                <a:solidFill>
                  <a:srgbClr val="00863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305A80"/>
              </a:buClr>
              <a:buSzPct val="90000"/>
              <a:buFont typeface="Courier New" panose="02070309020205020404" pitchFamily="49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863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Consent applications</a:t>
            </a:r>
          </a:p>
          <a:p>
            <a:pPr lvl="2">
              <a:buClr>
                <a:srgbClr val="7EBB00"/>
              </a:buClr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Development Consent Order under Planning Act 2008 process in England &amp; Wales, Marine Licence &amp; Section 36 consent in Scotland. 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123758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305A80"/>
              </a:buClr>
              <a:buSzPct val="90000"/>
              <a:buFont typeface="Courier New" panose="02070309020205020404" pitchFamily="49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863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Environmental Impact Assessment (EIA)</a:t>
            </a:r>
          </a:p>
          <a:p>
            <a:pPr lvl="2"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Understand and consider the potential environmental impacts of a project in the decision-making process, including where mitigation and compensation may be needed, </a:t>
            </a:r>
          </a:p>
          <a:p>
            <a:pPr lvl="2"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Findings presented in an Environmental Statement (ES) and Non-Technical Summary (NTS) both submitted with consent applications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305A80"/>
              </a:buClr>
              <a:buSzPct val="90000"/>
              <a:buFont typeface="Courier New" panose="02070309020205020404" pitchFamily="49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863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Habitats Regulations Assessment (HRA) &amp; Marine Conservation Zone Assessment (MCZ)</a:t>
            </a:r>
          </a:p>
          <a:p>
            <a:pPr lvl="2"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Staged process for assessing potential impacts to UK national sites network </a:t>
            </a:r>
          </a:p>
          <a:p>
            <a:pPr lvl="2"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HRA Screening and Report to Inform Appropriate Assessment (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RiAA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) submitted with consent applications</a:t>
            </a:r>
          </a:p>
          <a:p>
            <a:pPr lvl="1">
              <a:defRPr/>
            </a:pPr>
            <a:r>
              <a:rPr lang="en-GB" sz="1200" b="1" dirty="0">
                <a:solidFill>
                  <a:srgbClr val="008634"/>
                </a:solidFill>
                <a:latin typeface="Poppins" pitchFamily="2" charset="77"/>
                <a:cs typeface="Poppins" pitchFamily="2" charset="77"/>
              </a:rPr>
              <a:t>Other assessments </a:t>
            </a:r>
          </a:p>
          <a:p>
            <a:pPr lvl="2">
              <a:defRPr/>
            </a:pPr>
            <a:r>
              <a:rPr lang="en-GB" sz="1200" dirty="0">
                <a:latin typeface="Poppins" pitchFamily="2" charset="77"/>
                <a:cs typeface="Poppins" pitchFamily="2" charset="77"/>
              </a:rPr>
              <a:t>Shipping &amp; Navigational Risk Assessment  </a:t>
            </a:r>
          </a:p>
          <a:p>
            <a:pPr lvl="2"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Water Framework Directives Assessment </a:t>
            </a:r>
          </a:p>
          <a:p>
            <a:pPr lvl="2">
              <a:defRPr/>
            </a:pPr>
            <a:r>
              <a:rPr lang="en-GB" sz="1200" dirty="0">
                <a:latin typeface="Poppins" pitchFamily="2" charset="77"/>
                <a:cs typeface="Poppins" pitchFamily="2" charset="77"/>
              </a:rPr>
              <a:t>Commercial fisheries &amp;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Marine archaeology</a:t>
            </a:r>
          </a:p>
          <a:p>
            <a:pPr lvl="2"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lvl="2"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0" marR="0" lvl="2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8634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CE44A17-A6ED-A733-06A4-C07C22F5EF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92965" y="1178137"/>
            <a:ext cx="4099035" cy="4501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4289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94662B1-160E-9059-B1AE-A38E35F64E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740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6" imgH="426" progId="TCLayout.ActiveDocument.1">
                  <p:embed/>
                </p:oleObj>
              </mc:Choice>
              <mc:Fallback>
                <p:oleObj name="think-cell Slide" r:id="rId4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662B1-160E-9059-B1AE-A38E35F64E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5784F29-BAB4-44AE-B3AE-996D674D1A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919" y="1180067"/>
            <a:ext cx="8160193" cy="459795"/>
          </a:xfrm>
        </p:spPr>
        <p:txBody>
          <a:bodyPr vert="horz">
            <a:normAutofit/>
          </a:bodyPr>
          <a:lstStyle/>
          <a:p>
            <a:r>
              <a:rPr lang="en-GB" dirty="0">
                <a:solidFill>
                  <a:srgbClr val="404040"/>
                </a:solidFill>
              </a:rPr>
              <a:t>Consenting Offshore Wind Project - Timelin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9D0E41E7-8811-47F7-99A0-D83A63D261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9648815"/>
              </p:ext>
            </p:extLst>
          </p:nvPr>
        </p:nvGraphicFramePr>
        <p:xfrm>
          <a:off x="300236" y="1951170"/>
          <a:ext cx="11513500" cy="4438646"/>
        </p:xfrm>
        <a:graphic>
          <a:graphicData uri="http://schemas.openxmlformats.org/drawingml/2006/table">
            <a:tbl>
              <a:tblPr/>
              <a:tblGrid>
                <a:gridCol w="1151350">
                  <a:extLst>
                    <a:ext uri="{9D8B030D-6E8A-4147-A177-3AD203B41FA5}">
                      <a16:colId xmlns:a16="http://schemas.microsoft.com/office/drawing/2014/main" val="1303030761"/>
                    </a:ext>
                  </a:extLst>
                </a:gridCol>
                <a:gridCol w="1151350">
                  <a:extLst>
                    <a:ext uri="{9D8B030D-6E8A-4147-A177-3AD203B41FA5}">
                      <a16:colId xmlns:a16="http://schemas.microsoft.com/office/drawing/2014/main" val="1023911687"/>
                    </a:ext>
                  </a:extLst>
                </a:gridCol>
                <a:gridCol w="1151350">
                  <a:extLst>
                    <a:ext uri="{9D8B030D-6E8A-4147-A177-3AD203B41FA5}">
                      <a16:colId xmlns:a16="http://schemas.microsoft.com/office/drawing/2014/main" val="2826897547"/>
                    </a:ext>
                  </a:extLst>
                </a:gridCol>
                <a:gridCol w="1151350">
                  <a:extLst>
                    <a:ext uri="{9D8B030D-6E8A-4147-A177-3AD203B41FA5}">
                      <a16:colId xmlns:a16="http://schemas.microsoft.com/office/drawing/2014/main" val="2943235510"/>
                    </a:ext>
                  </a:extLst>
                </a:gridCol>
                <a:gridCol w="1384995">
                  <a:extLst>
                    <a:ext uri="{9D8B030D-6E8A-4147-A177-3AD203B41FA5}">
                      <a16:colId xmlns:a16="http://schemas.microsoft.com/office/drawing/2014/main" val="2010811742"/>
                    </a:ext>
                  </a:extLst>
                </a:gridCol>
                <a:gridCol w="917705">
                  <a:extLst>
                    <a:ext uri="{9D8B030D-6E8A-4147-A177-3AD203B41FA5}">
                      <a16:colId xmlns:a16="http://schemas.microsoft.com/office/drawing/2014/main" val="2914929074"/>
                    </a:ext>
                  </a:extLst>
                </a:gridCol>
                <a:gridCol w="756859">
                  <a:extLst>
                    <a:ext uri="{9D8B030D-6E8A-4147-A177-3AD203B41FA5}">
                      <a16:colId xmlns:a16="http://schemas.microsoft.com/office/drawing/2014/main" val="25594802"/>
                    </a:ext>
                  </a:extLst>
                </a:gridCol>
                <a:gridCol w="394491">
                  <a:extLst>
                    <a:ext uri="{9D8B030D-6E8A-4147-A177-3AD203B41FA5}">
                      <a16:colId xmlns:a16="http://schemas.microsoft.com/office/drawing/2014/main" val="2897463514"/>
                    </a:ext>
                  </a:extLst>
                </a:gridCol>
                <a:gridCol w="894483">
                  <a:extLst>
                    <a:ext uri="{9D8B030D-6E8A-4147-A177-3AD203B41FA5}">
                      <a16:colId xmlns:a16="http://schemas.microsoft.com/office/drawing/2014/main" val="4053733055"/>
                    </a:ext>
                  </a:extLst>
                </a:gridCol>
                <a:gridCol w="1408217">
                  <a:extLst>
                    <a:ext uri="{9D8B030D-6E8A-4147-A177-3AD203B41FA5}">
                      <a16:colId xmlns:a16="http://schemas.microsoft.com/office/drawing/2014/main" val="3349474210"/>
                    </a:ext>
                  </a:extLst>
                </a:gridCol>
                <a:gridCol w="1151350">
                  <a:extLst>
                    <a:ext uri="{9D8B030D-6E8A-4147-A177-3AD203B41FA5}">
                      <a16:colId xmlns:a16="http://schemas.microsoft.com/office/drawing/2014/main" val="3107527335"/>
                    </a:ext>
                  </a:extLst>
                </a:gridCol>
              </a:tblGrid>
              <a:tr h="36209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Year 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Year 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Year 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Year 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Year 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Year 6 - 7</a:t>
                      </a: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Year 8 -1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GB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ear 8 -1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Year 10 – 3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Year 35 +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189724"/>
                  </a:ext>
                </a:extLst>
              </a:tr>
              <a:tr h="259650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25400" cap="flat" cmpd="dbl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 </a:t>
                      </a: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8604073"/>
                  </a:ext>
                </a:extLst>
              </a:tr>
              <a:tr h="100150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ward of seabed lease from TC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mmence bird / marine mammal surveys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mplete environmental survey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mplete environmental survey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nsent Examination / Determination Phas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nsent </a:t>
                      </a:r>
                    </a:p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mpliance</a:t>
                      </a:r>
                    </a:p>
                  </a:txBody>
                  <a:tcPr marL="0" marR="0" marT="0" marB="0" anchor="ctr">
                    <a:lnL w="25400" cap="flat" cmpd="dbl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nstruction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truction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Oper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AF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ecommissionin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AF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384599"/>
                  </a:ext>
                </a:extLst>
              </a:tr>
              <a:tr h="822075"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EIA Scopin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mmence EIA surveys and studi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mplete EI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nsent </a:t>
                      </a:r>
                    </a:p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ward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e-Construction surveys and design </a:t>
                      </a:r>
                    </a:p>
                  </a:txBody>
                  <a:tcPr marL="0" marR="0" marT="0" marB="0" anchor="ctr">
                    <a:lnL w="25400" cap="flat" cmpd="dbl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Environmental monitoring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ronmental monitoring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Environmental monitoring </a:t>
                      </a:r>
                    </a:p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AF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ost Decommissioning Monitorin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AF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802588"/>
                  </a:ext>
                </a:extLst>
              </a:tr>
              <a:tr h="754222"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nsent Applications Submiss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ocurement</a:t>
                      </a:r>
                    </a:p>
                  </a:txBody>
                  <a:tcPr marL="0" marR="0" marT="0" marB="0" anchor="ctr">
                    <a:lnL w="25400" cap="flat" cmpd="dbl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6777881"/>
                  </a:ext>
                </a:extLst>
              </a:tr>
              <a:tr h="247287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25400" cap="flat" cmpd="dbl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4656083"/>
                  </a:ext>
                </a:extLst>
              </a:tr>
              <a:tr h="259650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25400" cap="flat" cmpd="dbl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0482650"/>
                  </a:ext>
                </a:extLst>
              </a:tr>
              <a:tr h="339663"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GB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takeholder Consultation and Engagement</a:t>
                      </a:r>
                    </a:p>
                  </a:txBody>
                  <a:tcPr marL="99040" marR="99040" marT="49520" marB="4952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 </a:t>
                      </a:r>
                    </a:p>
                  </a:txBody>
                  <a:tcPr marL="99040" marR="99040" marT="49520" marB="49520" anchor="b">
                    <a:lnL w="25400" cap="flat" cmpd="dbl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FFFFFF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99040" marR="99040" marT="49520" marB="4952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FFFFFF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99040" marR="99040" marT="49520" marB="4952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FFFFFF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99040" marR="99040" marT="49520" marB="4952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8534872"/>
                  </a:ext>
                </a:extLst>
              </a:tr>
              <a:tr h="339663"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GB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e - FEED</a:t>
                      </a:r>
                    </a:p>
                  </a:txBody>
                  <a:tcPr marL="99040" marR="99040" marT="49520" marB="4952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00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GB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FEED</a:t>
                      </a: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00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0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3421182"/>
                  </a:ext>
                </a:extLst>
              </a:tr>
              <a:tr h="247287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67267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18631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D9F718-B1C4-526E-D3B2-50193F6617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031E0A4-AEBB-50CF-4B1C-2B8479D5CB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6831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6" imgH="426" progId="TCLayout.ActiveDocument.1">
                  <p:embed/>
                </p:oleObj>
              </mc:Choice>
              <mc:Fallback>
                <p:oleObj name="think-cell Slide" r:id="rId4" imgW="426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31E0A4-AEBB-50CF-4B1C-2B8479D5CB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0C558071-C916-555F-8507-F41D6738F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655" y="575400"/>
            <a:ext cx="10366551" cy="241007"/>
          </a:xfrm>
        </p:spPr>
        <p:txBody>
          <a:bodyPr vert="horz"/>
          <a:lstStyle/>
          <a:p>
            <a:r>
              <a:rPr lang="en-US" dirty="0"/>
              <a:t>Key consenting challenges &amp; how we are addressing them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5DD012-1B76-8C97-C4C1-385CC19BB4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70591C7-7C5F-344B-A2E0-A5AC5711D484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2602B44-39C6-4679-776B-23B74F4DCB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1655" y="1062713"/>
            <a:ext cx="11127450" cy="4491962"/>
          </a:xfrm>
        </p:spPr>
        <p:txBody>
          <a:bodyPr numCol="2" spcCol="360000"/>
          <a:lstStyle/>
          <a:p>
            <a:pPr lvl="1"/>
            <a:r>
              <a:rPr lang="en-GB" sz="1800" b="1" dirty="0">
                <a:solidFill>
                  <a:srgbClr val="008634"/>
                </a:solidFill>
              </a:rPr>
              <a:t>OWIC Pathways to Growth Focus Areas</a:t>
            </a:r>
          </a:p>
          <a:p>
            <a:pPr lvl="2">
              <a:buClr>
                <a:srgbClr val="7EBB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Strategic Compensation</a:t>
            </a:r>
          </a:p>
          <a:p>
            <a:pPr lvl="5">
              <a:buClr>
                <a:srgbClr val="7EBB00"/>
              </a:buClr>
            </a:pPr>
            <a:r>
              <a:rPr lang="en-GB" sz="1400" dirty="0"/>
              <a:t>	- Marine Recovery Fund</a:t>
            </a:r>
          </a:p>
          <a:p>
            <a:pPr lvl="5">
              <a:buClr>
                <a:srgbClr val="7EBB00"/>
              </a:buClr>
            </a:pPr>
            <a:r>
              <a:rPr lang="en-GB" sz="1400" dirty="0"/>
              <a:t>	- OWEC Strategic Compensation Studies</a:t>
            </a:r>
          </a:p>
          <a:p>
            <a:pPr lvl="2">
              <a:buClr>
                <a:srgbClr val="7EBB00"/>
              </a:buClr>
            </a:pPr>
            <a:r>
              <a:rPr lang="en-GB" sz="1600" dirty="0"/>
              <a:t>Strategic Planning</a:t>
            </a:r>
          </a:p>
          <a:p>
            <a:pPr marL="0" lvl="2" indent="0">
              <a:buClr>
                <a:srgbClr val="7EBB00"/>
              </a:buClr>
              <a:buNone/>
            </a:pPr>
            <a:r>
              <a:rPr lang="en-GB" dirty="0"/>
              <a:t>	- Marine Delivery Routemap</a:t>
            </a:r>
          </a:p>
          <a:p>
            <a:pPr marL="0" lvl="2" indent="0">
              <a:buClr>
                <a:srgbClr val="7EBB00"/>
              </a:buClr>
              <a:buNone/>
            </a:pPr>
            <a:r>
              <a:rPr lang="en-GB" dirty="0"/>
              <a:t>	- Marine Spatial Prioritisation</a:t>
            </a:r>
          </a:p>
          <a:p>
            <a:pPr lvl="2">
              <a:buClr>
                <a:srgbClr val="7EBB00"/>
              </a:buClr>
            </a:pPr>
            <a:r>
              <a:rPr lang="en-GB" sz="1600" dirty="0"/>
              <a:t>Adaptive Management </a:t>
            </a:r>
          </a:p>
          <a:p>
            <a:pPr marL="0" lvl="2" indent="0">
              <a:buClr>
                <a:srgbClr val="7EBB00"/>
              </a:buClr>
              <a:buNone/>
            </a:pPr>
            <a:r>
              <a:rPr lang="en-GB" dirty="0"/>
              <a:t>	– better use of evidence &amp; data</a:t>
            </a:r>
          </a:p>
          <a:p>
            <a:pPr lvl="2">
              <a:buClr>
                <a:srgbClr val="7EBB00"/>
              </a:buClr>
            </a:pPr>
            <a:r>
              <a:rPr lang="en-GB" sz="1600" dirty="0"/>
              <a:t>Underwater Noise</a:t>
            </a:r>
          </a:p>
          <a:p>
            <a:pPr marL="0" lvl="2" indent="0">
              <a:buClr>
                <a:srgbClr val="7EBB00"/>
              </a:buClr>
              <a:buNone/>
            </a:pPr>
            <a:r>
              <a:rPr lang="en-GB" dirty="0"/>
              <a:t>	– Cross industry coordination</a:t>
            </a:r>
          </a:p>
          <a:p>
            <a:pPr lvl="2">
              <a:buClr>
                <a:srgbClr val="7EBB00"/>
              </a:buClr>
            </a:pPr>
            <a:r>
              <a:rPr lang="en-GB" sz="1600" dirty="0"/>
              <a:t>Cumulative Impact Assessments</a:t>
            </a:r>
          </a:p>
          <a:p>
            <a:pPr marL="0" lvl="2" indent="0">
              <a:buClr>
                <a:srgbClr val="7EBB00"/>
              </a:buClr>
              <a:buNone/>
            </a:pPr>
            <a:r>
              <a:rPr lang="en-GB" dirty="0"/>
              <a:t>	– As-built register</a:t>
            </a:r>
          </a:p>
          <a:p>
            <a:pPr lvl="2">
              <a:buClr>
                <a:srgbClr val="7EBB00"/>
              </a:buClr>
            </a:pPr>
            <a:r>
              <a:rPr lang="en-GB" sz="1600" dirty="0"/>
              <a:t>Biodiversity Targets</a:t>
            </a:r>
          </a:p>
          <a:p>
            <a:pPr lvl="2">
              <a:buClr>
                <a:srgbClr val="7EBB00"/>
              </a:buClr>
            </a:pPr>
            <a:r>
              <a:rPr lang="en-GB" sz="1600" dirty="0"/>
              <a:t>Proportionate Assessments </a:t>
            </a:r>
          </a:p>
          <a:p>
            <a:pPr lvl="1"/>
            <a:endParaRPr lang="en-GB" sz="1200" b="1" dirty="0">
              <a:solidFill>
                <a:srgbClr val="123758"/>
              </a:solidFill>
            </a:endParaRPr>
          </a:p>
          <a:p>
            <a:pPr lvl="1"/>
            <a:br>
              <a:rPr lang="en-GB" sz="1200" b="1" dirty="0">
                <a:solidFill>
                  <a:srgbClr val="008634"/>
                </a:solidFill>
              </a:rPr>
            </a:br>
            <a:br>
              <a:rPr lang="en-GB" sz="1200" b="1" dirty="0">
                <a:solidFill>
                  <a:srgbClr val="008634"/>
                </a:solidFill>
              </a:rPr>
            </a:br>
            <a:br>
              <a:rPr lang="en-GB" sz="1200" b="1" dirty="0">
                <a:solidFill>
                  <a:srgbClr val="008634"/>
                </a:solidFill>
              </a:rPr>
            </a:br>
            <a:endParaRPr lang="en-GB" sz="1200" b="1" dirty="0">
              <a:solidFill>
                <a:srgbClr val="008634"/>
              </a:solidFill>
            </a:endParaRPr>
          </a:p>
          <a:p>
            <a:pPr lvl="1"/>
            <a:endParaRPr lang="en-GB" sz="1200" b="1" dirty="0">
              <a:solidFill>
                <a:srgbClr val="008634"/>
              </a:solidFill>
            </a:endParaRPr>
          </a:p>
          <a:p>
            <a:pPr lvl="1"/>
            <a:endParaRPr lang="en-GB" sz="1200" b="1" dirty="0">
              <a:solidFill>
                <a:srgbClr val="008634"/>
              </a:solidFill>
            </a:endParaRPr>
          </a:p>
          <a:p>
            <a:pPr lvl="1"/>
            <a:endParaRPr lang="en-GB" sz="1200" b="1" dirty="0">
              <a:solidFill>
                <a:srgbClr val="008634"/>
              </a:solidFill>
            </a:endParaRPr>
          </a:p>
          <a:p>
            <a:pPr lvl="1"/>
            <a:br>
              <a:rPr lang="en-GB" sz="1200" b="1" dirty="0">
                <a:solidFill>
                  <a:srgbClr val="008634"/>
                </a:solidFill>
              </a:rPr>
            </a:br>
            <a:br>
              <a:rPr lang="en-GB" sz="1200" b="1" dirty="0">
                <a:solidFill>
                  <a:srgbClr val="008634"/>
                </a:solidFill>
              </a:rPr>
            </a:br>
            <a:endParaRPr lang="en-GB" sz="1200" dirty="0"/>
          </a:p>
          <a:p>
            <a:pPr marL="0" lvl="2" indent="0">
              <a:buNone/>
            </a:pPr>
            <a:endParaRPr lang="en-GB" sz="1200" dirty="0"/>
          </a:p>
          <a:p>
            <a:pPr marL="0" lvl="2" indent="0">
              <a:buNone/>
            </a:pPr>
            <a:endParaRPr lang="en-GB" sz="1200" dirty="0"/>
          </a:p>
          <a:p>
            <a:pPr marL="0" lvl="2" indent="0">
              <a:buNone/>
            </a:pPr>
            <a:endParaRPr lang="en-GB" sz="1200" dirty="0"/>
          </a:p>
          <a:p>
            <a:pPr marL="0" lvl="2" indent="0">
              <a:buNone/>
            </a:pPr>
            <a:endParaRPr lang="en-GB" sz="1200" dirty="0"/>
          </a:p>
          <a:p>
            <a:pPr marL="0" lvl="2" indent="0">
              <a:buNone/>
            </a:pPr>
            <a:br>
              <a:rPr lang="en-GB" sz="1200" dirty="0"/>
            </a:br>
            <a:endParaRPr lang="en-GB" sz="1200" dirty="0"/>
          </a:p>
          <a:p>
            <a:pPr lvl="2">
              <a:buClr>
                <a:srgbClr val="42C0EC"/>
              </a:buClr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0" lvl="2" indent="0">
              <a:buClr>
                <a:srgbClr val="42C0EC"/>
              </a:buClr>
              <a:buNone/>
            </a:pPr>
            <a:endParaRPr lang="en-GB" sz="1200" dirty="0"/>
          </a:p>
          <a:p>
            <a:pPr lvl="2"/>
            <a:endParaRPr lang="en-GB" sz="1200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F82C3B45-57D9-75CB-EB5E-B0F67F55660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27060" y="6374319"/>
            <a:ext cx="3009901" cy="182476"/>
          </a:xfrm>
        </p:spPr>
        <p:txBody>
          <a:bodyPr/>
          <a:lstStyle>
            <a:lvl1pPr algn="l">
              <a:defRPr sz="1000" b="1" i="0">
                <a:solidFill>
                  <a:srgbClr val="404040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 algn="r"/>
            <a:r>
              <a:rPr lang="en-GB" dirty="0"/>
              <a:t>Document title </a:t>
            </a:r>
          </a:p>
        </p:txBody>
      </p:sp>
      <p:pic>
        <p:nvPicPr>
          <p:cNvPr id="12" name="Picture 11" descr="A row of wind turbines in the ocean&#10;&#10;Description automatically generated">
            <a:extLst>
              <a:ext uri="{FF2B5EF4-FFF2-40B4-BE49-F238E27FC236}">
                <a16:creationId xmlns:a16="http://schemas.microsoft.com/office/drawing/2014/main" id="{057D6D2B-39E8-3098-9B71-C844399053B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7853" y="1314871"/>
            <a:ext cx="6249336" cy="4182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5556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-up of a wave&#10;&#10;Description automatically generated">
            <a:extLst>
              <a:ext uri="{FF2B5EF4-FFF2-40B4-BE49-F238E27FC236}">
                <a16:creationId xmlns:a16="http://schemas.microsoft.com/office/drawing/2014/main" id="{B3264741-F5BF-7935-E5A2-20908F8A632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2" t="16480" r="2033" b="6101"/>
          <a:stretch/>
        </p:blipFill>
        <p:spPr>
          <a:xfrm flipH="1">
            <a:off x="-2" y="-1"/>
            <a:ext cx="12192002" cy="6923875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7CD7CECE-7133-86EC-7158-79E39022D7F2}"/>
              </a:ext>
            </a:extLst>
          </p:cNvPr>
          <p:cNvGrpSpPr/>
          <p:nvPr/>
        </p:nvGrpSpPr>
        <p:grpSpPr>
          <a:xfrm>
            <a:off x="534920" y="5331647"/>
            <a:ext cx="2706049" cy="1088173"/>
            <a:chOff x="534920" y="5331647"/>
            <a:chExt cx="2706049" cy="1088173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E797BBC9-80BE-2808-D3AF-F4325725CF4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36769" y="5336228"/>
              <a:ext cx="2704200" cy="1081679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37CE7A14-DA18-3E85-44DE-3BED4FAE26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34920" y="5331647"/>
              <a:ext cx="579189" cy="1088173"/>
            </a:xfrm>
            <a:prstGeom prst="rect">
              <a:avLst/>
            </a:prstGeom>
          </p:spPr>
        </p:pic>
      </p:grp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55005C1-5668-61B0-0AEA-21755BE8C1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4920" y="2592868"/>
            <a:ext cx="8402350" cy="667748"/>
          </a:xfrm>
        </p:spPr>
        <p:txBody>
          <a:bodyPr/>
          <a:lstStyle>
            <a:lvl1pPr algn="l">
              <a:defRPr sz="4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Thank you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5B687D3B-9D7C-2AF6-F7E7-ED387C392ED4}"/>
              </a:ext>
            </a:extLst>
          </p:cNvPr>
          <p:cNvSpPr txBox="1">
            <a:spLocks/>
          </p:cNvSpPr>
          <p:nvPr/>
        </p:nvSpPr>
        <p:spPr>
          <a:xfrm>
            <a:off x="548619" y="3874663"/>
            <a:ext cx="9226001" cy="95101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F36C21"/>
              </a:buClr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305A80"/>
              </a:buClr>
              <a:buSzPct val="90000"/>
              <a:buFont typeface="Courier New" panose="02070309020205020404" pitchFamily="49" charset="0"/>
              <a:buNone/>
              <a:defRPr sz="1400" b="0" i="0" kern="1200">
                <a:solidFill>
                  <a:schemeClr val="bg1"/>
                </a:solidFill>
                <a:latin typeface="Poppins" pitchFamily="2" charset="77"/>
                <a:ea typeface="+mn-ea"/>
                <a:cs typeface="Poppins" pitchFamily="2" charset="77"/>
              </a:defRPr>
            </a:lvl2pPr>
            <a:lvl3pPr marL="144000" indent="-144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8634"/>
              </a:buClr>
              <a:buFont typeface="Arial" panose="020B0604020202020204" pitchFamily="34" charset="0"/>
              <a:buChar char="•"/>
              <a:defRPr sz="1400" b="0" i="0" kern="1200">
                <a:solidFill>
                  <a:schemeClr val="bg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  <a:lvl4pPr marL="171450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8634"/>
              </a:buClr>
              <a:buFont typeface="Arial" panose="020B0604020202020204" pitchFamily="34" charset="0"/>
              <a:buChar char="•"/>
              <a:defRPr sz="1200" b="0" i="0" kern="1200">
                <a:solidFill>
                  <a:schemeClr val="bg1"/>
                </a:solidFill>
                <a:latin typeface="Poppins" pitchFamily="2" charset="77"/>
                <a:ea typeface="+mn-ea"/>
                <a:cs typeface="Poppins" pitchFamily="2" charset="77"/>
              </a:defRPr>
            </a:lvl4pPr>
            <a:lvl5pPr marL="342900" indent="-342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1200"/>
              </a:spcAft>
              <a:buClr>
                <a:srgbClr val="008634"/>
              </a:buClr>
              <a:buFont typeface="Arial" panose="020B0604020202020204" pitchFamily="34" charset="0"/>
              <a:buChar char="•"/>
              <a:defRPr sz="2200" b="0" i="0" kern="1200">
                <a:solidFill>
                  <a:schemeClr val="bg1"/>
                </a:solidFill>
                <a:latin typeface="Poppins" pitchFamily="2" charset="77"/>
                <a:ea typeface="+mn-ea"/>
                <a:cs typeface="Poppins" pitchFamily="2" charset="77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200" b="0" i="0" kern="1200">
                <a:solidFill>
                  <a:srgbClr val="404040"/>
                </a:solidFill>
                <a:latin typeface="Poppins" pitchFamily="2" charset="77"/>
                <a:ea typeface="+mn-ea"/>
                <a:cs typeface="Poppins" pitchFamily="2" charset="77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 kern="1200">
                <a:solidFill>
                  <a:srgbClr val="404040"/>
                </a:solidFill>
                <a:latin typeface="Poppins" pitchFamily="2" charset="77"/>
                <a:ea typeface="+mn-ea"/>
                <a:cs typeface="Poppins" pitchFamily="2" charset="77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sz="2200" b="0" i="0" kern="1200">
                <a:solidFill>
                  <a:srgbClr val="008634"/>
                </a:solidFill>
                <a:latin typeface="Poppins" pitchFamily="2" charset="77"/>
                <a:ea typeface="+mn-ea"/>
                <a:cs typeface="Poppins" pitchFamily="2" charset="77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Kat Route-Stephens – Head of Environment &amp; Consents</a:t>
            </a:r>
          </a:p>
          <a:p>
            <a:r>
              <a:rPr lang="en-GB" sz="2400" dirty="0">
                <a:solidFill>
                  <a:schemeClr val="bg2"/>
                </a:solidFill>
                <a:latin typeface="Poppins" pitchFamily="2" charset="77"/>
                <a:cs typeface="Poppins" pitchFamily="2" charset="77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t.route-stephens@renewableuk.com</a:t>
            </a:r>
            <a:r>
              <a:rPr lang="en-GB" sz="2400" dirty="0">
                <a:solidFill>
                  <a:schemeClr val="bg2"/>
                </a:solidFill>
                <a:latin typeface="Poppins" pitchFamily="2" charset="77"/>
                <a:cs typeface="Poppins" pitchFamily="2" charset="7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729162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RenewableUK">
      <a:dk1>
        <a:sysClr val="windowText" lastClr="000000"/>
      </a:dk1>
      <a:lt1>
        <a:sysClr val="window" lastClr="FFFFFF"/>
      </a:lt1>
      <a:dk2>
        <a:srgbClr val="404040"/>
      </a:dk2>
      <a:lt2>
        <a:srgbClr val="E7E6E6"/>
      </a:lt2>
      <a:accent1>
        <a:srgbClr val="006B32"/>
      </a:accent1>
      <a:accent2>
        <a:srgbClr val="7AD0F3"/>
      </a:accent2>
      <a:accent3>
        <a:srgbClr val="234C2D"/>
      </a:accent3>
      <a:accent4>
        <a:srgbClr val="EAC108"/>
      </a:accent4>
      <a:accent5>
        <a:srgbClr val="590E2A"/>
      </a:accent5>
      <a:accent6>
        <a:srgbClr val="F1841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UK-PowerPoint-template-V2" id="{C6C3B545-E5E4-2D45-BD02-7D7604F7DFFD}" vid="{1A4DBD39-A0CD-4941-9051-4566C2C8F94D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fd62315-546a-4a27-9058-5347db9e0727">
      <Terms xmlns="http://schemas.microsoft.com/office/infopath/2007/PartnerControls"/>
    </lcf76f155ced4ddcb4097134ff3c332f>
    <TaxCatchAll xmlns="27bbe8b5-4867-4600-8d0b-5b2e79a755e8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4F6486E0DD3F4EB0D2EB37A5CBB198" ma:contentTypeVersion="20" ma:contentTypeDescription="Create a new document." ma:contentTypeScope="" ma:versionID="b8877521d379e57fe044f6a7e97a564f">
  <xsd:schema xmlns:xsd="http://www.w3.org/2001/XMLSchema" xmlns:xs="http://www.w3.org/2001/XMLSchema" xmlns:p="http://schemas.microsoft.com/office/2006/metadata/properties" xmlns:ns2="cfd62315-546a-4a27-9058-5347db9e0727" xmlns:ns3="27bbe8b5-4867-4600-8d0b-5b2e79a755e8" targetNamespace="http://schemas.microsoft.com/office/2006/metadata/properties" ma:root="true" ma:fieldsID="40e9f9dfcb8839bf7cd330d1babdb02c" ns2:_="" ns3:_="">
    <xsd:import namespace="cfd62315-546a-4a27-9058-5347db9e0727"/>
    <xsd:import namespace="27bbe8b5-4867-4600-8d0b-5b2e79a755e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d62315-546a-4a27-9058-5347db9e072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603eb57a-ddb2-47ae-bdac-8432b26068e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bbe8b5-4867-4600-8d0b-5b2e79a755e8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68271564-9e15-4745-8009-3276ab8f786b}" ma:internalName="TaxCatchAll" ma:showField="CatchAllData" ma:web="27bbe8b5-4867-4600-8d0b-5b2e79a755e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E974A5F-BE26-42AE-A99D-3E92064438AE}">
  <ds:schemaRefs>
    <ds:schemaRef ds:uri="cfd62315-546a-4a27-9058-5347db9e0727"/>
    <ds:schemaRef ds:uri="http://schemas.microsoft.com/office/2006/documentManagement/types"/>
    <ds:schemaRef ds:uri="27bbe8b5-4867-4600-8d0b-5b2e79a755e8"/>
    <ds:schemaRef ds:uri="http://purl.org/dc/elements/1.1/"/>
    <ds:schemaRef ds:uri="http://purl.org/dc/dcmitype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4A5529B-3B32-4663-BF55-9571C06C49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fd62315-546a-4a27-9058-5347db9e0727"/>
    <ds:schemaRef ds:uri="27bbe8b5-4867-4600-8d0b-5b2e79a755e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454C112-46BB-4EC8-AE2D-D3F7DD92E4F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UK-PowerPoint-template-V2</Template>
  <TotalTime>70</TotalTime>
  <Words>717</Words>
  <Application>Microsoft Macintosh PowerPoint</Application>
  <PresentationFormat>Widescreen</PresentationFormat>
  <Paragraphs>135</Paragraphs>
  <Slides>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Calibri</vt:lpstr>
      <vt:lpstr>Calibri Light</vt:lpstr>
      <vt:lpstr>Courier New</vt:lpstr>
      <vt:lpstr>Poppins</vt:lpstr>
      <vt:lpstr>Thème Office</vt:lpstr>
      <vt:lpstr>think-cell Slide</vt:lpstr>
      <vt:lpstr>PowerPoint Presentation</vt:lpstr>
      <vt:lpstr>PowerPoint Presentation</vt:lpstr>
      <vt:lpstr>Who we are</vt:lpstr>
      <vt:lpstr>Offshore Wind Planning in the UK</vt:lpstr>
      <vt:lpstr>Consenting processes &amp; Environmental Assessments</vt:lpstr>
      <vt:lpstr>Consenting Offshore Wind Project - Timeline</vt:lpstr>
      <vt:lpstr>Key consenting challenges &amp; how we are addressing them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at Route-Stephens</dc:creator>
  <cp:lastModifiedBy>Charlotte Mueller</cp:lastModifiedBy>
  <cp:revision>1</cp:revision>
  <dcterms:created xsi:type="dcterms:W3CDTF">2025-11-11T12:59:31Z</dcterms:created>
  <dcterms:modified xsi:type="dcterms:W3CDTF">2025-11-12T14:19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4F6486E0DD3F4EB0D2EB37A5CBB198</vt:lpwstr>
  </property>
  <property fmtid="{D5CDD505-2E9C-101B-9397-08002B2CF9AE}" pid="3" name="MediaServiceImageTags">
    <vt:lpwstr/>
  </property>
</Properties>
</file>